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1"/>
    <p:sldMasterId id="2147483729" r:id="rId2"/>
    <p:sldMasterId id="2147483742" r:id="rId3"/>
  </p:sldMasterIdLst>
  <p:notesMasterIdLst>
    <p:notesMasterId r:id="rId21"/>
  </p:notesMasterIdLst>
  <p:sldIdLst>
    <p:sldId id="335" r:id="rId4"/>
    <p:sldId id="289" r:id="rId5"/>
    <p:sldId id="284" r:id="rId6"/>
    <p:sldId id="283" r:id="rId7"/>
    <p:sldId id="285" r:id="rId8"/>
    <p:sldId id="273" r:id="rId9"/>
    <p:sldId id="280" r:id="rId10"/>
    <p:sldId id="281" r:id="rId11"/>
    <p:sldId id="302" r:id="rId12"/>
    <p:sldId id="292" r:id="rId13"/>
    <p:sldId id="296" r:id="rId14"/>
    <p:sldId id="299" r:id="rId15"/>
    <p:sldId id="300" r:id="rId16"/>
    <p:sldId id="297" r:id="rId17"/>
    <p:sldId id="298" r:id="rId18"/>
    <p:sldId id="294" r:id="rId19"/>
    <p:sldId id="337" r:id="rId20"/>
  </p:sldIdLst>
  <p:sldSz cx="17532350" cy="9864725"/>
  <p:notesSz cx="6858000" cy="9144000"/>
  <p:custDataLst>
    <p:tags r:id="rId2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colás Londoño Torres" initials="NLT" lastIdx="1" clrIdx="0">
    <p:extLst>
      <p:ext uri="{19B8F6BF-5375-455C-9EA6-DF929625EA0E}">
        <p15:presenceInfo xmlns:p15="http://schemas.microsoft.com/office/powerpoint/2012/main" userId="S::nicolas.londono@bienestarips.com::4f8ec0a6-664a-42af-9c48-2c3a2f46cef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5A6"/>
    <a:srgbClr val="FF5F3F"/>
    <a:srgbClr val="A65C99"/>
    <a:srgbClr val="D7D7D7"/>
    <a:srgbClr val="CC6600"/>
    <a:srgbClr val="00B094"/>
    <a:srgbClr val="FFFFFF"/>
    <a:srgbClr val="D9D9D9"/>
    <a:srgbClr val="00436D"/>
    <a:srgbClr val="0044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Estilo claro 1 - Acento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FECB4D8-DB02-4DC6-A0A2-4F2EBAE1DC90}" styleName="Estilo medio 1 - Énfasis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0" autoAdjust="0"/>
    <p:restoredTop sz="89655" autoAdjust="0"/>
  </p:normalViewPr>
  <p:slideViewPr>
    <p:cSldViewPr snapToGrid="0">
      <p:cViewPr varScale="1">
        <p:scale>
          <a:sx n="42" d="100"/>
          <a:sy n="42" d="100"/>
        </p:scale>
        <p:origin x="694" y="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commentAuthors" Target="commentAuthor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471BBA3-1ADF-4CEA-B81F-33074D00CC80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2718B31C-264B-4865-B368-C7DDEBD14524}">
      <dgm:prSet phldrT="[Texto]" custT="1"/>
      <dgm:spPr/>
      <dgm:t>
        <a:bodyPr/>
        <a:lstStyle/>
        <a:p>
          <a:r>
            <a:rPr lang="es-CO" sz="2500" b="1" dirty="0">
              <a:solidFill>
                <a:srgbClr val="FF5F3F"/>
              </a:solidFill>
            </a:rPr>
            <a:t>Subgerencia Regional</a:t>
          </a:r>
        </a:p>
        <a:p>
          <a:r>
            <a:rPr lang="es-CO" sz="2200" dirty="0">
              <a:solidFill>
                <a:schemeClr val="tx2">
                  <a:lumMod val="75000"/>
                </a:schemeClr>
              </a:solidFill>
            </a:rPr>
            <a:t>Antonio Alvarez</a:t>
          </a:r>
        </a:p>
      </dgm:t>
    </dgm:pt>
    <dgm:pt modelId="{CA58776E-4585-4E30-A26E-B3BD52466DE0}" type="parTrans" cxnId="{FF5498AC-8CB3-4317-887E-CF244CAFE6F8}">
      <dgm:prSet/>
      <dgm:spPr/>
      <dgm:t>
        <a:bodyPr/>
        <a:lstStyle/>
        <a:p>
          <a:endParaRPr lang="es-CO"/>
        </a:p>
      </dgm:t>
    </dgm:pt>
    <dgm:pt modelId="{3795156A-F520-40C1-A8B5-A24F79E4B507}" type="sibTrans" cxnId="{FF5498AC-8CB3-4317-887E-CF244CAFE6F8}">
      <dgm:prSet/>
      <dgm:spPr/>
      <dgm:t>
        <a:bodyPr/>
        <a:lstStyle/>
        <a:p>
          <a:endParaRPr lang="es-CO"/>
        </a:p>
      </dgm:t>
    </dgm:pt>
    <dgm:pt modelId="{479561E1-F86D-4249-8504-A340F165203F}">
      <dgm:prSet phldrT="[Texto]" custT="1"/>
      <dgm:spPr/>
      <dgm:t>
        <a:bodyPr/>
        <a:lstStyle/>
        <a:p>
          <a:r>
            <a:rPr lang="es-CO" sz="2000" b="1" dirty="0">
              <a:solidFill>
                <a:srgbClr val="FF5F3F"/>
              </a:solidFill>
            </a:rPr>
            <a:t>Directora de Servicios Foneca</a:t>
          </a:r>
        </a:p>
        <a:p>
          <a:r>
            <a:rPr lang="es-CO" sz="2000" b="0" dirty="0">
              <a:solidFill>
                <a:schemeClr val="tx2">
                  <a:lumMod val="75000"/>
                </a:schemeClr>
              </a:solidFill>
            </a:rPr>
            <a:t>Laura Valero</a:t>
          </a:r>
        </a:p>
      </dgm:t>
    </dgm:pt>
    <dgm:pt modelId="{A6D37023-D512-49EF-B184-3B42490664F6}" type="parTrans" cxnId="{8EBFBB6C-7BC0-47AC-A757-EFA974E612C3}">
      <dgm:prSet/>
      <dgm:spPr/>
      <dgm:t>
        <a:bodyPr/>
        <a:lstStyle/>
        <a:p>
          <a:endParaRPr lang="es-CO"/>
        </a:p>
      </dgm:t>
    </dgm:pt>
    <dgm:pt modelId="{66063303-5313-4A1B-BA4A-704BCC51E521}" type="sibTrans" cxnId="{8EBFBB6C-7BC0-47AC-A757-EFA974E612C3}">
      <dgm:prSet/>
      <dgm:spPr/>
      <dgm:t>
        <a:bodyPr/>
        <a:lstStyle/>
        <a:p>
          <a:endParaRPr lang="es-CO"/>
        </a:p>
      </dgm:t>
    </dgm:pt>
    <dgm:pt modelId="{1D5BC54F-8866-423E-B7B3-59385EFED39A}">
      <dgm:prSet phldrT="[Texto]" custT="1"/>
      <dgm:spPr/>
      <dgm:t>
        <a:bodyPr/>
        <a:lstStyle/>
        <a:p>
          <a:pPr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b="1" dirty="0">
              <a:solidFill>
                <a:srgbClr val="FF0000"/>
              </a:solidFill>
            </a:rPr>
            <a:t>Anfitrión de Servicios</a:t>
          </a:r>
        </a:p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es-CO" sz="2000" b="0" dirty="0">
              <a:solidFill>
                <a:schemeClr val="tx2"/>
              </a:solidFill>
            </a:rPr>
            <a:t>Liz Ocampo</a:t>
          </a:r>
        </a:p>
        <a:p>
          <a:pPr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es-CO" sz="2000" b="0" dirty="0">
              <a:solidFill>
                <a:schemeClr val="tx2"/>
              </a:solidFill>
            </a:rPr>
            <a:t>Inés Pineda</a:t>
          </a:r>
          <a:r>
            <a:rPr lang="es-CO" sz="2000" b="1" dirty="0">
              <a:solidFill>
                <a:srgbClr val="FF0000"/>
              </a:solidFill>
            </a:rPr>
            <a:t> </a:t>
          </a:r>
        </a:p>
      </dgm:t>
    </dgm:pt>
    <dgm:pt modelId="{18EA99EE-2E8A-4D8A-8184-CA94AB6612A9}" type="parTrans" cxnId="{3F4BAD58-9E84-459C-8228-45E474865AF8}">
      <dgm:prSet/>
      <dgm:spPr/>
      <dgm:t>
        <a:bodyPr/>
        <a:lstStyle/>
        <a:p>
          <a:endParaRPr lang="es-CO"/>
        </a:p>
      </dgm:t>
    </dgm:pt>
    <dgm:pt modelId="{E820A959-9411-47A4-B379-A437C2D1652C}" type="sibTrans" cxnId="{3F4BAD58-9E84-459C-8228-45E474865AF8}">
      <dgm:prSet/>
      <dgm:spPr/>
      <dgm:t>
        <a:bodyPr/>
        <a:lstStyle/>
        <a:p>
          <a:endParaRPr lang="es-CO"/>
        </a:p>
      </dgm:t>
    </dgm:pt>
    <dgm:pt modelId="{5D17DA07-68B7-479B-82A3-E01DC40E331B}">
      <dgm:prSet phldrT="[Texto]"/>
      <dgm:spPr/>
      <dgm:t>
        <a:bodyPr/>
        <a:lstStyle/>
        <a:p>
          <a:r>
            <a:rPr lang="es-CO" b="1" dirty="0">
              <a:solidFill>
                <a:srgbClr val="FF5F3F"/>
              </a:solidFill>
            </a:rPr>
            <a:t>Director de Servicios Médicos Regional</a:t>
          </a:r>
        </a:p>
        <a:p>
          <a:r>
            <a:rPr lang="es-CO" b="0" dirty="0">
              <a:solidFill>
                <a:schemeClr val="tx2">
                  <a:lumMod val="75000"/>
                </a:schemeClr>
              </a:solidFill>
            </a:rPr>
            <a:t>Claudio Crespo</a:t>
          </a:r>
        </a:p>
      </dgm:t>
    </dgm:pt>
    <dgm:pt modelId="{2087F2D9-FE52-49EF-B1A3-F503287FCA0C}" type="parTrans" cxnId="{0718F360-1079-4852-AE64-B75B150BFFDC}">
      <dgm:prSet/>
      <dgm:spPr/>
      <dgm:t>
        <a:bodyPr/>
        <a:lstStyle/>
        <a:p>
          <a:endParaRPr lang="es-CO"/>
        </a:p>
      </dgm:t>
    </dgm:pt>
    <dgm:pt modelId="{B58DB922-D0AD-45F6-9B06-D79DD87D3FAE}" type="sibTrans" cxnId="{0718F360-1079-4852-AE64-B75B150BFFDC}">
      <dgm:prSet/>
      <dgm:spPr/>
      <dgm:t>
        <a:bodyPr/>
        <a:lstStyle/>
        <a:p>
          <a:endParaRPr lang="es-CO"/>
        </a:p>
      </dgm:t>
    </dgm:pt>
    <dgm:pt modelId="{5A4550CD-D7E7-4A2B-A05B-0D9E7EEF7CDC}">
      <dgm:prSet phldrT="[Texto]" custT="1"/>
      <dgm:spPr/>
      <dgm:t>
        <a:bodyPr/>
        <a:lstStyle/>
        <a:p>
          <a:r>
            <a:rPr lang="es-CO" sz="2000" b="1" dirty="0">
              <a:solidFill>
                <a:srgbClr val="FF0000"/>
              </a:solidFill>
            </a:rPr>
            <a:t>Personal Asistencial de Sedes</a:t>
          </a:r>
        </a:p>
      </dgm:t>
    </dgm:pt>
    <dgm:pt modelId="{44F70F2D-A2FF-4CA2-A162-54790EF5290D}" type="parTrans" cxnId="{3AC616E4-3FDE-4DC2-8194-4D73ABBAF0BD}">
      <dgm:prSet/>
      <dgm:spPr/>
      <dgm:t>
        <a:bodyPr/>
        <a:lstStyle/>
        <a:p>
          <a:endParaRPr lang="es-CO"/>
        </a:p>
      </dgm:t>
    </dgm:pt>
    <dgm:pt modelId="{D48BD53C-4BFC-46B0-B377-AEE0BC7C9C05}" type="sibTrans" cxnId="{3AC616E4-3FDE-4DC2-8194-4D73ABBAF0BD}">
      <dgm:prSet/>
      <dgm:spPr/>
      <dgm:t>
        <a:bodyPr/>
        <a:lstStyle/>
        <a:p>
          <a:endParaRPr lang="es-CO"/>
        </a:p>
      </dgm:t>
    </dgm:pt>
    <dgm:pt modelId="{02E1692F-E99F-4E91-ACA1-F2C53E620471}" type="pres">
      <dgm:prSet presAssocID="{A471BBA3-1ADF-4CEA-B81F-33074D00CC80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82826CBB-BD5C-4279-AAF4-BCE73A6F0117}" type="pres">
      <dgm:prSet presAssocID="{2718B31C-264B-4865-B368-C7DDEBD14524}" presName="hierRoot1" presStyleCnt="0"/>
      <dgm:spPr/>
    </dgm:pt>
    <dgm:pt modelId="{28637FEC-0385-46EB-B906-BAE7203FE150}" type="pres">
      <dgm:prSet presAssocID="{2718B31C-264B-4865-B368-C7DDEBD14524}" presName="composite" presStyleCnt="0"/>
      <dgm:spPr/>
    </dgm:pt>
    <dgm:pt modelId="{B8B9B6E3-A729-4752-A8D5-03EF1ECDA2D2}" type="pres">
      <dgm:prSet presAssocID="{2718B31C-264B-4865-B368-C7DDEBD14524}" presName="background" presStyleLbl="node0" presStyleIdx="0" presStyleCnt="1"/>
      <dgm:spPr/>
    </dgm:pt>
    <dgm:pt modelId="{D36C142D-87FC-48FA-B8B1-A1F7A750712B}" type="pres">
      <dgm:prSet presAssocID="{2718B31C-264B-4865-B368-C7DDEBD14524}" presName="text" presStyleLbl="fgAcc0" presStyleIdx="0" presStyleCnt="1">
        <dgm:presLayoutVars>
          <dgm:chPref val="3"/>
        </dgm:presLayoutVars>
      </dgm:prSet>
      <dgm:spPr/>
    </dgm:pt>
    <dgm:pt modelId="{19A190E0-DAA5-474F-B43D-159E1D0F9A67}" type="pres">
      <dgm:prSet presAssocID="{2718B31C-264B-4865-B368-C7DDEBD14524}" presName="hierChild2" presStyleCnt="0"/>
      <dgm:spPr/>
    </dgm:pt>
    <dgm:pt modelId="{873FBB2F-08B1-4259-B8E1-79AB61FA99A5}" type="pres">
      <dgm:prSet presAssocID="{A6D37023-D512-49EF-B184-3B42490664F6}" presName="Name10" presStyleLbl="parChTrans1D2" presStyleIdx="0" presStyleCnt="2"/>
      <dgm:spPr/>
    </dgm:pt>
    <dgm:pt modelId="{6A391F61-4719-4220-B5CD-E7F7E0366EFB}" type="pres">
      <dgm:prSet presAssocID="{479561E1-F86D-4249-8504-A340F165203F}" presName="hierRoot2" presStyleCnt="0"/>
      <dgm:spPr/>
    </dgm:pt>
    <dgm:pt modelId="{34CF63A8-BFB8-41C2-87CB-AEBA6CA9B56D}" type="pres">
      <dgm:prSet presAssocID="{479561E1-F86D-4249-8504-A340F165203F}" presName="composite2" presStyleCnt="0"/>
      <dgm:spPr/>
    </dgm:pt>
    <dgm:pt modelId="{A28AE257-EE06-44CE-9A7C-E43979FAA634}" type="pres">
      <dgm:prSet presAssocID="{479561E1-F86D-4249-8504-A340F165203F}" presName="background2" presStyleLbl="node2" presStyleIdx="0" presStyleCnt="2"/>
      <dgm:spPr/>
    </dgm:pt>
    <dgm:pt modelId="{3D64ABE8-A805-4960-8C85-0F64A2EA8555}" type="pres">
      <dgm:prSet presAssocID="{479561E1-F86D-4249-8504-A340F165203F}" presName="text2" presStyleLbl="fgAcc2" presStyleIdx="0" presStyleCnt="2">
        <dgm:presLayoutVars>
          <dgm:chPref val="3"/>
        </dgm:presLayoutVars>
      </dgm:prSet>
      <dgm:spPr/>
    </dgm:pt>
    <dgm:pt modelId="{5E34BA42-5DCB-4ABC-BAD3-8DD63F1B0C0A}" type="pres">
      <dgm:prSet presAssocID="{479561E1-F86D-4249-8504-A340F165203F}" presName="hierChild3" presStyleCnt="0"/>
      <dgm:spPr/>
    </dgm:pt>
    <dgm:pt modelId="{C1B20A59-E5CC-4F29-BD70-99ACB1E6650B}" type="pres">
      <dgm:prSet presAssocID="{18EA99EE-2E8A-4D8A-8184-CA94AB6612A9}" presName="Name17" presStyleLbl="parChTrans1D3" presStyleIdx="0" presStyleCnt="2"/>
      <dgm:spPr/>
    </dgm:pt>
    <dgm:pt modelId="{7BDC5DA6-C97B-40B8-A58E-736BB8428E8B}" type="pres">
      <dgm:prSet presAssocID="{1D5BC54F-8866-423E-B7B3-59385EFED39A}" presName="hierRoot3" presStyleCnt="0"/>
      <dgm:spPr/>
    </dgm:pt>
    <dgm:pt modelId="{63FCC5BA-5C21-4EFC-9AE3-5C5353653003}" type="pres">
      <dgm:prSet presAssocID="{1D5BC54F-8866-423E-B7B3-59385EFED39A}" presName="composite3" presStyleCnt="0"/>
      <dgm:spPr/>
    </dgm:pt>
    <dgm:pt modelId="{835EC324-B6ED-42CB-B8DE-A8E1B9A9EE85}" type="pres">
      <dgm:prSet presAssocID="{1D5BC54F-8866-423E-B7B3-59385EFED39A}" presName="background3" presStyleLbl="node3" presStyleIdx="0" presStyleCnt="2"/>
      <dgm:spPr/>
    </dgm:pt>
    <dgm:pt modelId="{C76853AE-3DC6-4D64-A352-DECA9D96FBC8}" type="pres">
      <dgm:prSet presAssocID="{1D5BC54F-8866-423E-B7B3-59385EFED39A}" presName="text3" presStyleLbl="fgAcc3" presStyleIdx="0" presStyleCnt="2">
        <dgm:presLayoutVars>
          <dgm:chPref val="3"/>
        </dgm:presLayoutVars>
      </dgm:prSet>
      <dgm:spPr/>
    </dgm:pt>
    <dgm:pt modelId="{7E9DCD75-68B3-49FB-B3CD-C777EC29C3F4}" type="pres">
      <dgm:prSet presAssocID="{1D5BC54F-8866-423E-B7B3-59385EFED39A}" presName="hierChild4" presStyleCnt="0"/>
      <dgm:spPr/>
    </dgm:pt>
    <dgm:pt modelId="{09601E26-B8B6-4B92-92A3-2B48D1F3966B}" type="pres">
      <dgm:prSet presAssocID="{2087F2D9-FE52-49EF-B1A3-F503287FCA0C}" presName="Name10" presStyleLbl="parChTrans1D2" presStyleIdx="1" presStyleCnt="2"/>
      <dgm:spPr/>
    </dgm:pt>
    <dgm:pt modelId="{8A93105B-F477-4BC7-8009-CBFAED2A231D}" type="pres">
      <dgm:prSet presAssocID="{5D17DA07-68B7-479B-82A3-E01DC40E331B}" presName="hierRoot2" presStyleCnt="0"/>
      <dgm:spPr/>
    </dgm:pt>
    <dgm:pt modelId="{0FC45C97-323D-4066-BCE2-851D6B437471}" type="pres">
      <dgm:prSet presAssocID="{5D17DA07-68B7-479B-82A3-E01DC40E331B}" presName="composite2" presStyleCnt="0"/>
      <dgm:spPr/>
    </dgm:pt>
    <dgm:pt modelId="{B02C370E-BC38-4855-976F-E8E92A7A2AE2}" type="pres">
      <dgm:prSet presAssocID="{5D17DA07-68B7-479B-82A3-E01DC40E331B}" presName="background2" presStyleLbl="node2" presStyleIdx="1" presStyleCnt="2"/>
      <dgm:spPr/>
    </dgm:pt>
    <dgm:pt modelId="{A0F012BD-98D5-4767-9D30-141329D99018}" type="pres">
      <dgm:prSet presAssocID="{5D17DA07-68B7-479B-82A3-E01DC40E331B}" presName="text2" presStyleLbl="fgAcc2" presStyleIdx="1" presStyleCnt="2">
        <dgm:presLayoutVars>
          <dgm:chPref val="3"/>
        </dgm:presLayoutVars>
      </dgm:prSet>
      <dgm:spPr/>
    </dgm:pt>
    <dgm:pt modelId="{FB2E706D-9E46-43EB-951F-867113C04DD5}" type="pres">
      <dgm:prSet presAssocID="{5D17DA07-68B7-479B-82A3-E01DC40E331B}" presName="hierChild3" presStyleCnt="0"/>
      <dgm:spPr/>
    </dgm:pt>
    <dgm:pt modelId="{2FD4A4AC-FA2E-47FD-9999-127FB68A6316}" type="pres">
      <dgm:prSet presAssocID="{44F70F2D-A2FF-4CA2-A162-54790EF5290D}" presName="Name17" presStyleLbl="parChTrans1D3" presStyleIdx="1" presStyleCnt="2"/>
      <dgm:spPr/>
    </dgm:pt>
    <dgm:pt modelId="{D1DAEADB-29BC-4491-95AD-505B01566ED7}" type="pres">
      <dgm:prSet presAssocID="{5A4550CD-D7E7-4A2B-A05B-0D9E7EEF7CDC}" presName="hierRoot3" presStyleCnt="0"/>
      <dgm:spPr/>
    </dgm:pt>
    <dgm:pt modelId="{3C4552B9-F587-465C-9BCF-990A88B5249E}" type="pres">
      <dgm:prSet presAssocID="{5A4550CD-D7E7-4A2B-A05B-0D9E7EEF7CDC}" presName="composite3" presStyleCnt="0"/>
      <dgm:spPr/>
    </dgm:pt>
    <dgm:pt modelId="{D4A3E933-3E4A-4C56-98CD-0609E7BE6943}" type="pres">
      <dgm:prSet presAssocID="{5A4550CD-D7E7-4A2B-A05B-0D9E7EEF7CDC}" presName="background3" presStyleLbl="node3" presStyleIdx="1" presStyleCnt="2"/>
      <dgm:spPr/>
    </dgm:pt>
    <dgm:pt modelId="{22FA42AD-F60A-4F2F-9A55-025DB0F3C02B}" type="pres">
      <dgm:prSet presAssocID="{5A4550CD-D7E7-4A2B-A05B-0D9E7EEF7CDC}" presName="text3" presStyleLbl="fgAcc3" presStyleIdx="1" presStyleCnt="2">
        <dgm:presLayoutVars>
          <dgm:chPref val="3"/>
        </dgm:presLayoutVars>
      </dgm:prSet>
      <dgm:spPr/>
    </dgm:pt>
    <dgm:pt modelId="{3B3F6F3E-7F17-452C-B6EE-17F9F40E51B1}" type="pres">
      <dgm:prSet presAssocID="{5A4550CD-D7E7-4A2B-A05B-0D9E7EEF7CDC}" presName="hierChild4" presStyleCnt="0"/>
      <dgm:spPr/>
    </dgm:pt>
  </dgm:ptLst>
  <dgm:cxnLst>
    <dgm:cxn modelId="{90E50902-1297-4BAE-9AE3-4F9CE30B16DC}" type="presOf" srcId="{479561E1-F86D-4249-8504-A340F165203F}" destId="{3D64ABE8-A805-4960-8C85-0F64A2EA8555}" srcOrd="0" destOrd="0" presId="urn:microsoft.com/office/officeart/2005/8/layout/hierarchy1"/>
    <dgm:cxn modelId="{4EDC0905-0CDD-4CB0-A0F2-AB0034C9A519}" type="presOf" srcId="{18EA99EE-2E8A-4D8A-8184-CA94AB6612A9}" destId="{C1B20A59-E5CC-4F29-BD70-99ACB1E6650B}" srcOrd="0" destOrd="0" presId="urn:microsoft.com/office/officeart/2005/8/layout/hierarchy1"/>
    <dgm:cxn modelId="{F08F1D10-E56F-49F3-AEE0-14896987DE0E}" type="presOf" srcId="{44F70F2D-A2FF-4CA2-A162-54790EF5290D}" destId="{2FD4A4AC-FA2E-47FD-9999-127FB68A6316}" srcOrd="0" destOrd="0" presId="urn:microsoft.com/office/officeart/2005/8/layout/hierarchy1"/>
    <dgm:cxn modelId="{0718F360-1079-4852-AE64-B75B150BFFDC}" srcId="{2718B31C-264B-4865-B368-C7DDEBD14524}" destId="{5D17DA07-68B7-479B-82A3-E01DC40E331B}" srcOrd="1" destOrd="0" parTransId="{2087F2D9-FE52-49EF-B1A3-F503287FCA0C}" sibTransId="{B58DB922-D0AD-45F6-9B06-D79DD87D3FAE}"/>
    <dgm:cxn modelId="{F5285845-9793-43C3-A761-40AEA564E753}" type="presOf" srcId="{A471BBA3-1ADF-4CEA-B81F-33074D00CC80}" destId="{02E1692F-E99F-4E91-ACA1-F2C53E620471}" srcOrd="0" destOrd="0" presId="urn:microsoft.com/office/officeart/2005/8/layout/hierarchy1"/>
    <dgm:cxn modelId="{8EBFBB6C-7BC0-47AC-A757-EFA974E612C3}" srcId="{2718B31C-264B-4865-B368-C7DDEBD14524}" destId="{479561E1-F86D-4249-8504-A340F165203F}" srcOrd="0" destOrd="0" parTransId="{A6D37023-D512-49EF-B184-3B42490664F6}" sibTransId="{66063303-5313-4A1B-BA4A-704BCC51E521}"/>
    <dgm:cxn modelId="{CF68364F-C0CC-4304-922A-1D5CACFD1F67}" type="presOf" srcId="{2718B31C-264B-4865-B368-C7DDEBD14524}" destId="{D36C142D-87FC-48FA-B8B1-A1F7A750712B}" srcOrd="0" destOrd="0" presId="urn:microsoft.com/office/officeart/2005/8/layout/hierarchy1"/>
    <dgm:cxn modelId="{C347AB57-485A-4FB3-B0E2-1CA12473BE30}" type="presOf" srcId="{1D5BC54F-8866-423E-B7B3-59385EFED39A}" destId="{C76853AE-3DC6-4D64-A352-DECA9D96FBC8}" srcOrd="0" destOrd="0" presId="urn:microsoft.com/office/officeart/2005/8/layout/hierarchy1"/>
    <dgm:cxn modelId="{3F4BAD58-9E84-459C-8228-45E474865AF8}" srcId="{479561E1-F86D-4249-8504-A340F165203F}" destId="{1D5BC54F-8866-423E-B7B3-59385EFED39A}" srcOrd="0" destOrd="0" parTransId="{18EA99EE-2E8A-4D8A-8184-CA94AB6612A9}" sibTransId="{E820A959-9411-47A4-B379-A437C2D1652C}"/>
    <dgm:cxn modelId="{20EB279B-3653-4210-B255-610E0C7E113A}" type="presOf" srcId="{5A4550CD-D7E7-4A2B-A05B-0D9E7EEF7CDC}" destId="{22FA42AD-F60A-4F2F-9A55-025DB0F3C02B}" srcOrd="0" destOrd="0" presId="urn:microsoft.com/office/officeart/2005/8/layout/hierarchy1"/>
    <dgm:cxn modelId="{FF5498AC-8CB3-4317-887E-CF244CAFE6F8}" srcId="{A471BBA3-1ADF-4CEA-B81F-33074D00CC80}" destId="{2718B31C-264B-4865-B368-C7DDEBD14524}" srcOrd="0" destOrd="0" parTransId="{CA58776E-4585-4E30-A26E-B3BD52466DE0}" sibTransId="{3795156A-F520-40C1-A8B5-A24F79E4B507}"/>
    <dgm:cxn modelId="{DE6ED1DC-BB44-4680-8032-2D267B7B6804}" type="presOf" srcId="{A6D37023-D512-49EF-B184-3B42490664F6}" destId="{873FBB2F-08B1-4259-B8E1-79AB61FA99A5}" srcOrd="0" destOrd="0" presId="urn:microsoft.com/office/officeart/2005/8/layout/hierarchy1"/>
    <dgm:cxn modelId="{3AC616E4-3FDE-4DC2-8194-4D73ABBAF0BD}" srcId="{5D17DA07-68B7-479B-82A3-E01DC40E331B}" destId="{5A4550CD-D7E7-4A2B-A05B-0D9E7EEF7CDC}" srcOrd="0" destOrd="0" parTransId="{44F70F2D-A2FF-4CA2-A162-54790EF5290D}" sibTransId="{D48BD53C-4BFC-46B0-B377-AEE0BC7C9C05}"/>
    <dgm:cxn modelId="{A1C1C7F7-8488-4DB6-BE10-1B5F31AC756F}" type="presOf" srcId="{2087F2D9-FE52-49EF-B1A3-F503287FCA0C}" destId="{09601E26-B8B6-4B92-92A3-2B48D1F3966B}" srcOrd="0" destOrd="0" presId="urn:microsoft.com/office/officeart/2005/8/layout/hierarchy1"/>
    <dgm:cxn modelId="{B967B0FD-1ADF-4CCB-AE06-7B2CDD9223F4}" type="presOf" srcId="{5D17DA07-68B7-479B-82A3-E01DC40E331B}" destId="{A0F012BD-98D5-4767-9D30-141329D99018}" srcOrd="0" destOrd="0" presId="urn:microsoft.com/office/officeart/2005/8/layout/hierarchy1"/>
    <dgm:cxn modelId="{1C07ED04-159D-493D-827A-50A1A011FA1C}" type="presParOf" srcId="{02E1692F-E99F-4E91-ACA1-F2C53E620471}" destId="{82826CBB-BD5C-4279-AAF4-BCE73A6F0117}" srcOrd="0" destOrd="0" presId="urn:microsoft.com/office/officeart/2005/8/layout/hierarchy1"/>
    <dgm:cxn modelId="{0D688FB5-F3FA-4455-9909-87EE69EA9522}" type="presParOf" srcId="{82826CBB-BD5C-4279-AAF4-BCE73A6F0117}" destId="{28637FEC-0385-46EB-B906-BAE7203FE150}" srcOrd="0" destOrd="0" presId="urn:microsoft.com/office/officeart/2005/8/layout/hierarchy1"/>
    <dgm:cxn modelId="{FBCD9734-CCCF-4990-9AED-A30A41D09FDE}" type="presParOf" srcId="{28637FEC-0385-46EB-B906-BAE7203FE150}" destId="{B8B9B6E3-A729-4752-A8D5-03EF1ECDA2D2}" srcOrd="0" destOrd="0" presId="urn:microsoft.com/office/officeart/2005/8/layout/hierarchy1"/>
    <dgm:cxn modelId="{4B1EB3CB-00A5-41DC-8173-B9B10E05E183}" type="presParOf" srcId="{28637FEC-0385-46EB-B906-BAE7203FE150}" destId="{D36C142D-87FC-48FA-B8B1-A1F7A750712B}" srcOrd="1" destOrd="0" presId="urn:microsoft.com/office/officeart/2005/8/layout/hierarchy1"/>
    <dgm:cxn modelId="{AB26B6AF-CF0B-4A24-A234-91A0DB53082E}" type="presParOf" srcId="{82826CBB-BD5C-4279-AAF4-BCE73A6F0117}" destId="{19A190E0-DAA5-474F-B43D-159E1D0F9A67}" srcOrd="1" destOrd="0" presId="urn:microsoft.com/office/officeart/2005/8/layout/hierarchy1"/>
    <dgm:cxn modelId="{39A8DB43-48E6-4614-BCD3-63613D064D77}" type="presParOf" srcId="{19A190E0-DAA5-474F-B43D-159E1D0F9A67}" destId="{873FBB2F-08B1-4259-B8E1-79AB61FA99A5}" srcOrd="0" destOrd="0" presId="urn:microsoft.com/office/officeart/2005/8/layout/hierarchy1"/>
    <dgm:cxn modelId="{7CD5D1A1-BB65-4BDD-9ED6-7294C85AD767}" type="presParOf" srcId="{19A190E0-DAA5-474F-B43D-159E1D0F9A67}" destId="{6A391F61-4719-4220-B5CD-E7F7E0366EFB}" srcOrd="1" destOrd="0" presId="urn:microsoft.com/office/officeart/2005/8/layout/hierarchy1"/>
    <dgm:cxn modelId="{C573490C-75CC-4D9A-94ED-80FC0E1B2BD8}" type="presParOf" srcId="{6A391F61-4719-4220-B5CD-E7F7E0366EFB}" destId="{34CF63A8-BFB8-41C2-87CB-AEBA6CA9B56D}" srcOrd="0" destOrd="0" presId="urn:microsoft.com/office/officeart/2005/8/layout/hierarchy1"/>
    <dgm:cxn modelId="{47C2B9A3-CEA6-4E20-9EA8-56F91641D9F6}" type="presParOf" srcId="{34CF63A8-BFB8-41C2-87CB-AEBA6CA9B56D}" destId="{A28AE257-EE06-44CE-9A7C-E43979FAA634}" srcOrd="0" destOrd="0" presId="urn:microsoft.com/office/officeart/2005/8/layout/hierarchy1"/>
    <dgm:cxn modelId="{936548CE-80E6-4659-A8DB-A2093D28099C}" type="presParOf" srcId="{34CF63A8-BFB8-41C2-87CB-AEBA6CA9B56D}" destId="{3D64ABE8-A805-4960-8C85-0F64A2EA8555}" srcOrd="1" destOrd="0" presId="urn:microsoft.com/office/officeart/2005/8/layout/hierarchy1"/>
    <dgm:cxn modelId="{FF580B53-99D6-4E7D-8F1A-6D48EBF02E88}" type="presParOf" srcId="{6A391F61-4719-4220-B5CD-E7F7E0366EFB}" destId="{5E34BA42-5DCB-4ABC-BAD3-8DD63F1B0C0A}" srcOrd="1" destOrd="0" presId="urn:microsoft.com/office/officeart/2005/8/layout/hierarchy1"/>
    <dgm:cxn modelId="{D2008846-AD70-4186-8FE6-96379BAB5BA8}" type="presParOf" srcId="{5E34BA42-5DCB-4ABC-BAD3-8DD63F1B0C0A}" destId="{C1B20A59-E5CC-4F29-BD70-99ACB1E6650B}" srcOrd="0" destOrd="0" presId="urn:microsoft.com/office/officeart/2005/8/layout/hierarchy1"/>
    <dgm:cxn modelId="{7DE3A756-22E5-4065-835A-B34DA4084E0D}" type="presParOf" srcId="{5E34BA42-5DCB-4ABC-BAD3-8DD63F1B0C0A}" destId="{7BDC5DA6-C97B-40B8-A58E-736BB8428E8B}" srcOrd="1" destOrd="0" presId="urn:microsoft.com/office/officeart/2005/8/layout/hierarchy1"/>
    <dgm:cxn modelId="{BFDFD56C-AF19-4BA5-B687-3412AB04C36C}" type="presParOf" srcId="{7BDC5DA6-C97B-40B8-A58E-736BB8428E8B}" destId="{63FCC5BA-5C21-4EFC-9AE3-5C5353653003}" srcOrd="0" destOrd="0" presId="urn:microsoft.com/office/officeart/2005/8/layout/hierarchy1"/>
    <dgm:cxn modelId="{31AE7F88-9D6F-40E3-805A-2C860BBD834A}" type="presParOf" srcId="{63FCC5BA-5C21-4EFC-9AE3-5C5353653003}" destId="{835EC324-B6ED-42CB-B8DE-A8E1B9A9EE85}" srcOrd="0" destOrd="0" presId="urn:microsoft.com/office/officeart/2005/8/layout/hierarchy1"/>
    <dgm:cxn modelId="{BEA622D5-C668-4BB4-B459-6A4E55B686EE}" type="presParOf" srcId="{63FCC5BA-5C21-4EFC-9AE3-5C5353653003}" destId="{C76853AE-3DC6-4D64-A352-DECA9D96FBC8}" srcOrd="1" destOrd="0" presId="urn:microsoft.com/office/officeart/2005/8/layout/hierarchy1"/>
    <dgm:cxn modelId="{68DB0308-6B1D-4C50-B6AC-AC58FB1E5A78}" type="presParOf" srcId="{7BDC5DA6-C97B-40B8-A58E-736BB8428E8B}" destId="{7E9DCD75-68B3-49FB-B3CD-C777EC29C3F4}" srcOrd="1" destOrd="0" presId="urn:microsoft.com/office/officeart/2005/8/layout/hierarchy1"/>
    <dgm:cxn modelId="{7B62A2C5-5A28-4491-934C-CF5132FF69E4}" type="presParOf" srcId="{19A190E0-DAA5-474F-B43D-159E1D0F9A67}" destId="{09601E26-B8B6-4B92-92A3-2B48D1F3966B}" srcOrd="2" destOrd="0" presId="urn:microsoft.com/office/officeart/2005/8/layout/hierarchy1"/>
    <dgm:cxn modelId="{79F23EED-F661-41D6-B25A-F0AB56A47E46}" type="presParOf" srcId="{19A190E0-DAA5-474F-B43D-159E1D0F9A67}" destId="{8A93105B-F477-4BC7-8009-CBFAED2A231D}" srcOrd="3" destOrd="0" presId="urn:microsoft.com/office/officeart/2005/8/layout/hierarchy1"/>
    <dgm:cxn modelId="{4AD6D9EB-F3F5-4319-A288-A0A9E1421404}" type="presParOf" srcId="{8A93105B-F477-4BC7-8009-CBFAED2A231D}" destId="{0FC45C97-323D-4066-BCE2-851D6B437471}" srcOrd="0" destOrd="0" presId="urn:microsoft.com/office/officeart/2005/8/layout/hierarchy1"/>
    <dgm:cxn modelId="{1BBA5E95-7E1A-42C6-BFF2-671844D340E5}" type="presParOf" srcId="{0FC45C97-323D-4066-BCE2-851D6B437471}" destId="{B02C370E-BC38-4855-976F-E8E92A7A2AE2}" srcOrd="0" destOrd="0" presId="urn:microsoft.com/office/officeart/2005/8/layout/hierarchy1"/>
    <dgm:cxn modelId="{55EC55AE-F0A0-4839-9418-BCE73CBF856A}" type="presParOf" srcId="{0FC45C97-323D-4066-BCE2-851D6B437471}" destId="{A0F012BD-98D5-4767-9D30-141329D99018}" srcOrd="1" destOrd="0" presId="urn:microsoft.com/office/officeart/2005/8/layout/hierarchy1"/>
    <dgm:cxn modelId="{2A5E8C85-7EE5-4D65-9943-80A13EA712BC}" type="presParOf" srcId="{8A93105B-F477-4BC7-8009-CBFAED2A231D}" destId="{FB2E706D-9E46-43EB-951F-867113C04DD5}" srcOrd="1" destOrd="0" presId="urn:microsoft.com/office/officeart/2005/8/layout/hierarchy1"/>
    <dgm:cxn modelId="{B1A8F206-BA4B-4DB7-80F6-65DC8A864E84}" type="presParOf" srcId="{FB2E706D-9E46-43EB-951F-867113C04DD5}" destId="{2FD4A4AC-FA2E-47FD-9999-127FB68A6316}" srcOrd="0" destOrd="0" presId="urn:microsoft.com/office/officeart/2005/8/layout/hierarchy1"/>
    <dgm:cxn modelId="{B64A0FAA-7DBC-457D-943F-CB45EF227658}" type="presParOf" srcId="{FB2E706D-9E46-43EB-951F-867113C04DD5}" destId="{D1DAEADB-29BC-4491-95AD-505B01566ED7}" srcOrd="1" destOrd="0" presId="urn:microsoft.com/office/officeart/2005/8/layout/hierarchy1"/>
    <dgm:cxn modelId="{F443D73F-D2EB-485A-8492-6341EAE68FD1}" type="presParOf" srcId="{D1DAEADB-29BC-4491-95AD-505B01566ED7}" destId="{3C4552B9-F587-465C-9BCF-990A88B5249E}" srcOrd="0" destOrd="0" presId="urn:microsoft.com/office/officeart/2005/8/layout/hierarchy1"/>
    <dgm:cxn modelId="{4CD50E47-8413-431A-B99C-4C46E789BE27}" type="presParOf" srcId="{3C4552B9-F587-465C-9BCF-990A88B5249E}" destId="{D4A3E933-3E4A-4C56-98CD-0609E7BE6943}" srcOrd="0" destOrd="0" presId="urn:microsoft.com/office/officeart/2005/8/layout/hierarchy1"/>
    <dgm:cxn modelId="{6A2E0BEC-075F-479B-8486-6B080B9DB343}" type="presParOf" srcId="{3C4552B9-F587-465C-9BCF-990A88B5249E}" destId="{22FA42AD-F60A-4F2F-9A55-025DB0F3C02B}" srcOrd="1" destOrd="0" presId="urn:microsoft.com/office/officeart/2005/8/layout/hierarchy1"/>
    <dgm:cxn modelId="{6349237A-92F2-4F23-B182-7CA4DE28996C}" type="presParOf" srcId="{D1DAEADB-29BC-4491-95AD-505B01566ED7}" destId="{3B3F6F3E-7F17-452C-B6EE-17F9F40E51B1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FD4A4AC-FA2E-47FD-9999-127FB68A6316}">
      <dsp:nvSpPr>
        <dsp:cNvPr id="0" name=""/>
        <dsp:cNvSpPr/>
      </dsp:nvSpPr>
      <dsp:spPr>
        <a:xfrm>
          <a:off x="6550647" y="3900682"/>
          <a:ext cx="91440" cy="72579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72579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9601E26-B8B6-4B92-92A3-2B48D1F3966B}">
      <dsp:nvSpPr>
        <dsp:cNvPr id="0" name=""/>
        <dsp:cNvSpPr/>
      </dsp:nvSpPr>
      <dsp:spPr>
        <a:xfrm>
          <a:off x="5071291" y="1590192"/>
          <a:ext cx="1525076" cy="7257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4609"/>
              </a:lnTo>
              <a:lnTo>
                <a:pt x="1525076" y="494609"/>
              </a:lnTo>
              <a:lnTo>
                <a:pt x="1525076" y="72579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B20A59-E5CC-4F29-BD70-99ACB1E6650B}">
      <dsp:nvSpPr>
        <dsp:cNvPr id="0" name=""/>
        <dsp:cNvSpPr/>
      </dsp:nvSpPr>
      <dsp:spPr>
        <a:xfrm>
          <a:off x="3500495" y="3900682"/>
          <a:ext cx="91440" cy="72579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72579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73FBB2F-08B1-4259-B8E1-79AB61FA99A5}">
      <dsp:nvSpPr>
        <dsp:cNvPr id="0" name=""/>
        <dsp:cNvSpPr/>
      </dsp:nvSpPr>
      <dsp:spPr>
        <a:xfrm>
          <a:off x="3546215" y="1590192"/>
          <a:ext cx="1525076" cy="725797"/>
        </a:xfrm>
        <a:custGeom>
          <a:avLst/>
          <a:gdLst/>
          <a:ahLst/>
          <a:cxnLst/>
          <a:rect l="0" t="0" r="0" b="0"/>
          <a:pathLst>
            <a:path>
              <a:moveTo>
                <a:pt x="1525076" y="0"/>
              </a:moveTo>
              <a:lnTo>
                <a:pt x="1525076" y="494609"/>
              </a:lnTo>
              <a:lnTo>
                <a:pt x="0" y="494609"/>
              </a:lnTo>
              <a:lnTo>
                <a:pt x="0" y="72579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8B9B6E3-A729-4752-A8D5-03EF1ECDA2D2}">
      <dsp:nvSpPr>
        <dsp:cNvPr id="0" name=""/>
        <dsp:cNvSpPr/>
      </dsp:nvSpPr>
      <dsp:spPr>
        <a:xfrm>
          <a:off x="3823501" y="5499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6C142D-87FC-48FA-B8B1-A1F7A750712B}">
      <dsp:nvSpPr>
        <dsp:cNvPr id="0" name=""/>
        <dsp:cNvSpPr/>
      </dsp:nvSpPr>
      <dsp:spPr>
        <a:xfrm>
          <a:off x="4100788" y="26892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500" b="1" kern="1200" dirty="0">
              <a:solidFill>
                <a:srgbClr val="FF5F3F"/>
              </a:solidFill>
            </a:rPr>
            <a:t>Subgerencia Regional</a:t>
          </a:r>
        </a:p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200" kern="1200" dirty="0">
              <a:solidFill>
                <a:schemeClr val="tx2">
                  <a:lumMod val="75000"/>
                </a:schemeClr>
              </a:solidFill>
            </a:rPr>
            <a:t>Antonio Alvarez</a:t>
          </a:r>
        </a:p>
      </dsp:txBody>
      <dsp:txXfrm>
        <a:off x="4147202" y="315336"/>
        <a:ext cx="2402750" cy="1491864"/>
      </dsp:txXfrm>
    </dsp:sp>
    <dsp:sp modelId="{A28AE257-EE06-44CE-9A7C-E43979FAA634}">
      <dsp:nvSpPr>
        <dsp:cNvPr id="0" name=""/>
        <dsp:cNvSpPr/>
      </dsp:nvSpPr>
      <dsp:spPr>
        <a:xfrm>
          <a:off x="2298425" y="2315990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64ABE8-A805-4960-8C85-0F64A2EA8555}">
      <dsp:nvSpPr>
        <dsp:cNvPr id="0" name=""/>
        <dsp:cNvSpPr/>
      </dsp:nvSpPr>
      <dsp:spPr>
        <a:xfrm>
          <a:off x="2575712" y="257941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1" kern="1200" dirty="0">
              <a:solidFill>
                <a:srgbClr val="FF5F3F"/>
              </a:solidFill>
            </a:rPr>
            <a:t>Directora de Servicios Foneca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0" kern="1200" dirty="0">
              <a:solidFill>
                <a:schemeClr val="tx2">
                  <a:lumMod val="75000"/>
                </a:schemeClr>
              </a:solidFill>
            </a:rPr>
            <a:t>Laura Valero</a:t>
          </a:r>
        </a:p>
      </dsp:txBody>
      <dsp:txXfrm>
        <a:off x="2622126" y="2625826"/>
        <a:ext cx="2402750" cy="1491864"/>
      </dsp:txXfrm>
    </dsp:sp>
    <dsp:sp modelId="{835EC324-B6ED-42CB-B8DE-A8E1B9A9EE85}">
      <dsp:nvSpPr>
        <dsp:cNvPr id="0" name=""/>
        <dsp:cNvSpPr/>
      </dsp:nvSpPr>
      <dsp:spPr>
        <a:xfrm>
          <a:off x="2298425" y="4626480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6853AE-3DC6-4D64-A352-DECA9D96FBC8}">
      <dsp:nvSpPr>
        <dsp:cNvPr id="0" name=""/>
        <dsp:cNvSpPr/>
      </dsp:nvSpPr>
      <dsp:spPr>
        <a:xfrm>
          <a:off x="2575712" y="488990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1" kern="1200" dirty="0">
              <a:solidFill>
                <a:srgbClr val="FF0000"/>
              </a:solidFill>
            </a:rPr>
            <a:t>Anfitrión de Servicios</a:t>
          </a:r>
        </a:p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s-CO" sz="2000" b="0" kern="1200" dirty="0">
              <a:solidFill>
                <a:schemeClr val="tx2"/>
              </a:solidFill>
            </a:rPr>
            <a:t>Liz Ocampo</a:t>
          </a:r>
        </a:p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s-CO" sz="2000" b="0" kern="1200" dirty="0">
              <a:solidFill>
                <a:schemeClr val="tx2"/>
              </a:solidFill>
            </a:rPr>
            <a:t>Inés Pineda</a:t>
          </a:r>
          <a:r>
            <a:rPr lang="es-CO" sz="2000" b="1" kern="1200" dirty="0">
              <a:solidFill>
                <a:srgbClr val="FF0000"/>
              </a:solidFill>
            </a:rPr>
            <a:t> </a:t>
          </a:r>
        </a:p>
      </dsp:txBody>
      <dsp:txXfrm>
        <a:off x="2622126" y="4936316"/>
        <a:ext cx="2402750" cy="1491864"/>
      </dsp:txXfrm>
    </dsp:sp>
    <dsp:sp modelId="{B02C370E-BC38-4855-976F-E8E92A7A2AE2}">
      <dsp:nvSpPr>
        <dsp:cNvPr id="0" name=""/>
        <dsp:cNvSpPr/>
      </dsp:nvSpPr>
      <dsp:spPr>
        <a:xfrm>
          <a:off x="5348577" y="2315990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F012BD-98D5-4767-9D30-141329D99018}">
      <dsp:nvSpPr>
        <dsp:cNvPr id="0" name=""/>
        <dsp:cNvSpPr/>
      </dsp:nvSpPr>
      <dsp:spPr>
        <a:xfrm>
          <a:off x="5625864" y="257941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1" kern="1200" dirty="0">
              <a:solidFill>
                <a:srgbClr val="FF5F3F"/>
              </a:solidFill>
            </a:rPr>
            <a:t>Director de Servicios Médicos Regional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0" kern="1200" dirty="0">
              <a:solidFill>
                <a:schemeClr val="tx2">
                  <a:lumMod val="75000"/>
                </a:schemeClr>
              </a:solidFill>
            </a:rPr>
            <a:t>Claudio Crespo</a:t>
          </a:r>
        </a:p>
      </dsp:txBody>
      <dsp:txXfrm>
        <a:off x="5672278" y="2625826"/>
        <a:ext cx="2402750" cy="1491864"/>
      </dsp:txXfrm>
    </dsp:sp>
    <dsp:sp modelId="{D4A3E933-3E4A-4C56-98CD-0609E7BE6943}">
      <dsp:nvSpPr>
        <dsp:cNvPr id="0" name=""/>
        <dsp:cNvSpPr/>
      </dsp:nvSpPr>
      <dsp:spPr>
        <a:xfrm>
          <a:off x="5348577" y="4626480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2FA42AD-F60A-4F2F-9A55-025DB0F3C02B}">
      <dsp:nvSpPr>
        <dsp:cNvPr id="0" name=""/>
        <dsp:cNvSpPr/>
      </dsp:nvSpPr>
      <dsp:spPr>
        <a:xfrm>
          <a:off x="5625864" y="488990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1" kern="1200" dirty="0">
              <a:solidFill>
                <a:srgbClr val="FF0000"/>
              </a:solidFill>
            </a:rPr>
            <a:t>Personal Asistencial de Sedes</a:t>
          </a:r>
        </a:p>
      </dsp:txBody>
      <dsp:txXfrm>
        <a:off x="5672278" y="4936316"/>
        <a:ext cx="2402750" cy="14918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BAC92E-E261-4F1E-B06F-8A9464DA2DDA}" type="datetimeFigureOut">
              <a:rPr lang="en-US" smtClean="0"/>
              <a:t>12/2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147E62-A95C-4B6D-9D49-A3B014170E0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663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1pPr>
    <a:lvl2pPr marL="657499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2pPr>
    <a:lvl3pPr marL="1314999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3pPr>
    <a:lvl4pPr marL="1972498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4pPr>
    <a:lvl5pPr marL="2629997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5pPr>
    <a:lvl6pPr marL="3287497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6pPr>
    <a:lvl7pPr marL="3944996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7pPr>
    <a:lvl8pPr marL="4602495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8pPr>
    <a:lvl9pPr marL="5259995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419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147E62-A95C-4B6D-9D49-A3B014170E0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763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7.emf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16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11.png"/><Relationship Id="rId12" Type="http://schemas.openxmlformats.org/officeDocument/2006/relationships/image" Target="../media/image1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10.png"/><Relationship Id="rId11" Type="http://schemas.openxmlformats.org/officeDocument/2006/relationships/image" Target="../media/image14.png"/><Relationship Id="rId5" Type="http://schemas.openxmlformats.org/officeDocument/2006/relationships/image" Target="../media/image9.png"/><Relationship Id="rId10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image" Target="../media/image1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053A6DD-75D5-AB7C-1816-66179EE819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4575568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 descr="Logotipo&#10;&#10;Descripción generada automáticamente">
            <a:extLst>
              <a:ext uri="{FF2B5EF4-FFF2-40B4-BE49-F238E27FC236}">
                <a16:creationId xmlns:a16="http://schemas.microsoft.com/office/drawing/2014/main" id="{5F9F4966-B59A-90EB-9631-8AF4956225B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8629" y="3457775"/>
            <a:ext cx="11844635" cy="236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8341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191544" y="1614436"/>
            <a:ext cx="13149263" cy="3434386"/>
          </a:xfrm>
        </p:spPr>
        <p:txBody>
          <a:bodyPr anchor="b"/>
          <a:lstStyle>
            <a:lvl1pPr algn="ctr">
              <a:defRPr sz="8628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2191544" y="5181265"/>
            <a:ext cx="13149263" cy="238169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451"/>
            </a:lvl1pPr>
            <a:lvl2pPr marL="657454" indent="0" algn="ctr">
              <a:buNone/>
              <a:defRPr sz="2876"/>
            </a:lvl2pPr>
            <a:lvl3pPr marL="1314907" indent="0" algn="ctr">
              <a:buNone/>
              <a:defRPr sz="2588"/>
            </a:lvl3pPr>
            <a:lvl4pPr marL="1972361" indent="0" algn="ctr">
              <a:buNone/>
              <a:defRPr sz="2301"/>
            </a:lvl4pPr>
            <a:lvl5pPr marL="2629814" indent="0" algn="ctr">
              <a:buNone/>
              <a:defRPr sz="2301"/>
            </a:lvl5pPr>
            <a:lvl6pPr marL="3287268" indent="0" algn="ctr">
              <a:buNone/>
              <a:defRPr sz="2301"/>
            </a:lvl6pPr>
            <a:lvl7pPr marL="3944722" indent="0" algn="ctr">
              <a:buNone/>
              <a:defRPr sz="2301"/>
            </a:lvl7pPr>
            <a:lvl8pPr marL="4602175" indent="0" algn="ctr">
              <a:buNone/>
              <a:defRPr sz="2301"/>
            </a:lvl8pPr>
            <a:lvl9pPr marL="5259629" indent="0" algn="ctr">
              <a:buNone/>
              <a:defRPr sz="2301"/>
            </a:lvl9pPr>
          </a:lstStyle>
          <a:p>
            <a:r>
              <a:rPr lang="es-ES"/>
              <a:t>Haga clic para editar el estilo de subtítulo del patrón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6465303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1205349" y="2626027"/>
            <a:ext cx="15121652" cy="625907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0452580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96218" y="2459332"/>
            <a:ext cx="15121652" cy="4103451"/>
          </a:xfrm>
        </p:spPr>
        <p:txBody>
          <a:bodyPr anchor="b"/>
          <a:lstStyle>
            <a:lvl1pPr>
              <a:defRPr sz="8628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96218" y="6601603"/>
            <a:ext cx="15121652" cy="2157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451">
                <a:solidFill>
                  <a:schemeClr val="tx1">
                    <a:tint val="75000"/>
                  </a:schemeClr>
                </a:solidFill>
              </a:defRPr>
            </a:lvl1pPr>
            <a:lvl2pPr marL="657454" indent="0">
              <a:buNone/>
              <a:defRPr sz="2876">
                <a:solidFill>
                  <a:schemeClr val="tx1">
                    <a:tint val="75000"/>
                  </a:schemeClr>
                </a:solidFill>
              </a:defRPr>
            </a:lvl2pPr>
            <a:lvl3pPr marL="1314907" indent="0">
              <a:buNone/>
              <a:defRPr sz="2588">
                <a:solidFill>
                  <a:schemeClr val="tx1">
                    <a:tint val="75000"/>
                  </a:schemeClr>
                </a:solidFill>
              </a:defRPr>
            </a:lvl3pPr>
            <a:lvl4pPr marL="1972361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4pPr>
            <a:lvl5pPr marL="2629814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5pPr>
            <a:lvl6pPr marL="3287268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6pPr>
            <a:lvl7pPr marL="3944722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7pPr>
            <a:lvl8pPr marL="4602175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8pPr>
            <a:lvl9pPr marL="5259629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3117163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1205349" y="2626027"/>
            <a:ext cx="7451249" cy="625907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875752" y="2626027"/>
            <a:ext cx="7451249" cy="625907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9294299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525206"/>
            <a:ext cx="15121652" cy="190672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207633" y="2418229"/>
            <a:ext cx="7417005" cy="118513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451" b="1"/>
            </a:lvl1pPr>
            <a:lvl2pPr marL="657454" indent="0">
              <a:buNone/>
              <a:defRPr sz="2876" b="1"/>
            </a:lvl2pPr>
            <a:lvl3pPr marL="1314907" indent="0">
              <a:buNone/>
              <a:defRPr sz="2588" b="1"/>
            </a:lvl3pPr>
            <a:lvl4pPr marL="1972361" indent="0">
              <a:buNone/>
              <a:defRPr sz="2301" b="1"/>
            </a:lvl4pPr>
            <a:lvl5pPr marL="2629814" indent="0">
              <a:buNone/>
              <a:defRPr sz="2301" b="1"/>
            </a:lvl5pPr>
            <a:lvl6pPr marL="3287268" indent="0">
              <a:buNone/>
              <a:defRPr sz="2301" b="1"/>
            </a:lvl6pPr>
            <a:lvl7pPr marL="3944722" indent="0">
              <a:buNone/>
              <a:defRPr sz="2301" b="1"/>
            </a:lvl7pPr>
            <a:lvl8pPr marL="4602175" indent="0">
              <a:buNone/>
              <a:defRPr sz="2301" b="1"/>
            </a:lvl8pPr>
            <a:lvl9pPr marL="5259629" indent="0">
              <a:buNone/>
              <a:defRPr sz="2301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207633" y="3603365"/>
            <a:ext cx="7417005" cy="53000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8875752" y="2418229"/>
            <a:ext cx="7453532" cy="118513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451" b="1"/>
            </a:lvl1pPr>
            <a:lvl2pPr marL="657454" indent="0">
              <a:buNone/>
              <a:defRPr sz="2876" b="1"/>
            </a:lvl2pPr>
            <a:lvl3pPr marL="1314907" indent="0">
              <a:buNone/>
              <a:defRPr sz="2588" b="1"/>
            </a:lvl3pPr>
            <a:lvl4pPr marL="1972361" indent="0">
              <a:buNone/>
              <a:defRPr sz="2301" b="1"/>
            </a:lvl4pPr>
            <a:lvl5pPr marL="2629814" indent="0">
              <a:buNone/>
              <a:defRPr sz="2301" b="1"/>
            </a:lvl5pPr>
            <a:lvl6pPr marL="3287268" indent="0">
              <a:buNone/>
              <a:defRPr sz="2301" b="1"/>
            </a:lvl6pPr>
            <a:lvl7pPr marL="3944722" indent="0">
              <a:buNone/>
              <a:defRPr sz="2301" b="1"/>
            </a:lvl7pPr>
            <a:lvl8pPr marL="4602175" indent="0">
              <a:buNone/>
              <a:defRPr sz="2301" b="1"/>
            </a:lvl8pPr>
            <a:lvl9pPr marL="5259629" indent="0">
              <a:buNone/>
              <a:defRPr sz="2301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8875752" y="3603365"/>
            <a:ext cx="7453532" cy="53000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5221815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7655913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5182305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657648"/>
            <a:ext cx="5654639" cy="2301769"/>
          </a:xfrm>
        </p:spPr>
        <p:txBody>
          <a:bodyPr anchor="b"/>
          <a:lstStyle>
            <a:lvl1pPr>
              <a:defRPr sz="4602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7453532" y="1420338"/>
            <a:ext cx="8875752" cy="7010349"/>
          </a:xfrm>
          <a:prstGeom prst="rect">
            <a:avLst/>
          </a:prstGeom>
        </p:spPr>
        <p:txBody>
          <a:bodyPr/>
          <a:lstStyle>
            <a:lvl1pPr>
              <a:defRPr sz="4602"/>
            </a:lvl1pPr>
            <a:lvl2pPr>
              <a:defRPr sz="4026"/>
            </a:lvl2pPr>
            <a:lvl3pPr>
              <a:defRPr sz="3451"/>
            </a:lvl3pPr>
            <a:lvl4pPr>
              <a:defRPr sz="2876"/>
            </a:lvl4pPr>
            <a:lvl5pPr>
              <a:defRPr sz="2876"/>
            </a:lvl5pPr>
            <a:lvl6pPr>
              <a:defRPr sz="2876"/>
            </a:lvl6pPr>
            <a:lvl7pPr>
              <a:defRPr sz="2876"/>
            </a:lvl7pPr>
            <a:lvl8pPr>
              <a:defRPr sz="2876"/>
            </a:lvl8pPr>
            <a:lvl9pPr>
              <a:defRPr sz="2876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207633" y="2959417"/>
            <a:ext cx="5654639" cy="54826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01"/>
            </a:lvl1pPr>
            <a:lvl2pPr marL="657454" indent="0">
              <a:buNone/>
              <a:defRPr sz="2013"/>
            </a:lvl2pPr>
            <a:lvl3pPr marL="1314907" indent="0">
              <a:buNone/>
              <a:defRPr sz="1726"/>
            </a:lvl3pPr>
            <a:lvl4pPr marL="1972361" indent="0">
              <a:buNone/>
              <a:defRPr sz="1438"/>
            </a:lvl4pPr>
            <a:lvl5pPr marL="2629814" indent="0">
              <a:buNone/>
              <a:defRPr sz="1438"/>
            </a:lvl5pPr>
            <a:lvl6pPr marL="3287268" indent="0">
              <a:buNone/>
              <a:defRPr sz="1438"/>
            </a:lvl6pPr>
            <a:lvl7pPr marL="3944722" indent="0">
              <a:buNone/>
              <a:defRPr sz="1438"/>
            </a:lvl7pPr>
            <a:lvl8pPr marL="4602175" indent="0">
              <a:buNone/>
              <a:defRPr sz="1438"/>
            </a:lvl8pPr>
            <a:lvl9pPr marL="5259629" indent="0">
              <a:buNone/>
              <a:defRPr sz="1438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955557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657648"/>
            <a:ext cx="5654639" cy="2301769"/>
          </a:xfrm>
        </p:spPr>
        <p:txBody>
          <a:bodyPr anchor="b"/>
          <a:lstStyle>
            <a:lvl1pPr>
              <a:defRPr sz="4602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7453532" y="1420338"/>
            <a:ext cx="8875752" cy="70103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602"/>
            </a:lvl1pPr>
            <a:lvl2pPr marL="657454" indent="0">
              <a:buNone/>
              <a:defRPr sz="4026"/>
            </a:lvl2pPr>
            <a:lvl3pPr marL="1314907" indent="0">
              <a:buNone/>
              <a:defRPr sz="3451"/>
            </a:lvl3pPr>
            <a:lvl4pPr marL="1972361" indent="0">
              <a:buNone/>
              <a:defRPr sz="2876"/>
            </a:lvl4pPr>
            <a:lvl5pPr marL="2629814" indent="0">
              <a:buNone/>
              <a:defRPr sz="2876"/>
            </a:lvl5pPr>
            <a:lvl6pPr marL="3287268" indent="0">
              <a:buNone/>
              <a:defRPr sz="2876"/>
            </a:lvl6pPr>
            <a:lvl7pPr marL="3944722" indent="0">
              <a:buNone/>
              <a:defRPr sz="2876"/>
            </a:lvl7pPr>
            <a:lvl8pPr marL="4602175" indent="0">
              <a:buNone/>
              <a:defRPr sz="2876"/>
            </a:lvl8pPr>
            <a:lvl9pPr marL="5259629" indent="0">
              <a:buNone/>
              <a:defRPr sz="2876"/>
            </a:lvl9pPr>
          </a:lstStyle>
          <a:p>
            <a:endParaRPr lang="es-CO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207633" y="2959417"/>
            <a:ext cx="5654639" cy="54826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01"/>
            </a:lvl1pPr>
            <a:lvl2pPr marL="657454" indent="0">
              <a:buNone/>
              <a:defRPr sz="2013"/>
            </a:lvl2pPr>
            <a:lvl3pPr marL="1314907" indent="0">
              <a:buNone/>
              <a:defRPr sz="1726"/>
            </a:lvl3pPr>
            <a:lvl4pPr marL="1972361" indent="0">
              <a:buNone/>
              <a:defRPr sz="1438"/>
            </a:lvl4pPr>
            <a:lvl5pPr marL="2629814" indent="0">
              <a:buNone/>
              <a:defRPr sz="1438"/>
            </a:lvl5pPr>
            <a:lvl6pPr marL="3287268" indent="0">
              <a:buNone/>
              <a:defRPr sz="1438"/>
            </a:lvl6pPr>
            <a:lvl7pPr marL="3944722" indent="0">
              <a:buNone/>
              <a:defRPr sz="1438"/>
            </a:lvl7pPr>
            <a:lvl8pPr marL="4602175" indent="0">
              <a:buNone/>
              <a:defRPr sz="1438"/>
            </a:lvl8pPr>
            <a:lvl9pPr marL="5259629" indent="0">
              <a:buNone/>
              <a:defRPr sz="1438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8229421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1205349" y="2626027"/>
            <a:ext cx="15121652" cy="625907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2579615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052425C-0C69-73C9-AD07-977B9C7960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3852907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052425C-0C69-73C9-AD07-977B9C7960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4AC0EA8-EC61-DEDF-E2E4-E2E7586794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1618" y="3863807"/>
            <a:ext cx="3675025" cy="1411172"/>
          </a:xfrm>
          <a:prstGeom prst="rect">
            <a:avLst/>
          </a:prstGeom>
          <a:noFill/>
          <a:ln w="44450" cap="sq">
            <a:noFill/>
            <a:miter lim="800000"/>
          </a:ln>
        </p:spPr>
        <p:txBody>
          <a:bodyPr lIns="91434" tIns="45717" rIns="91434" bIns="45717" anchor="b">
            <a:normAutofit/>
          </a:bodyPr>
          <a:lstStyle>
            <a:lvl1pPr marL="0" indent="0" algn="ctr">
              <a:buNone/>
              <a:defRPr sz="9491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01</a:t>
            </a:r>
          </a:p>
        </p:txBody>
      </p:sp>
      <p:sp>
        <p:nvSpPr>
          <p:cNvPr id="9" name="Text Placeholder 59">
            <a:extLst>
              <a:ext uri="{FF2B5EF4-FFF2-40B4-BE49-F238E27FC236}">
                <a16:creationId xmlns:a16="http://schemas.microsoft.com/office/drawing/2014/main" id="{14FEFD19-81D7-7949-3F48-913792CA1CD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0045" y="5506832"/>
            <a:ext cx="3673319" cy="743912"/>
          </a:xfrm>
          <a:prstGeom prst="rect">
            <a:avLst/>
          </a:prstGeom>
          <a:noFill/>
        </p:spPr>
        <p:txBody>
          <a:bodyPr lIns="91434" tIns="45717" rIns="91434" bIns="45717"/>
          <a:lstStyle>
            <a:lvl1pPr marL="0" indent="0" algn="ctr">
              <a:buNone/>
              <a:defRPr sz="2876">
                <a:solidFill>
                  <a:srgbClr val="404040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ITEM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71BE730-AF34-B3D3-56F4-3FDFECFDA4F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98955" y="3840853"/>
            <a:ext cx="3675025" cy="1411172"/>
          </a:xfrm>
          <a:prstGeom prst="rect">
            <a:avLst/>
          </a:prstGeom>
          <a:noFill/>
          <a:ln w="44450" cap="sq">
            <a:noFill/>
            <a:miter lim="800000"/>
          </a:ln>
        </p:spPr>
        <p:txBody>
          <a:bodyPr lIns="91434" tIns="45717" rIns="91434" bIns="45717" anchor="b">
            <a:normAutofit/>
          </a:bodyPr>
          <a:lstStyle>
            <a:lvl1pPr marL="0" indent="0" algn="ctr">
              <a:buNone/>
              <a:defRPr sz="9491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02</a:t>
            </a:r>
          </a:p>
        </p:txBody>
      </p:sp>
      <p:sp>
        <p:nvSpPr>
          <p:cNvPr id="11" name="Text Placeholder 59">
            <a:extLst>
              <a:ext uri="{FF2B5EF4-FFF2-40B4-BE49-F238E27FC236}">
                <a16:creationId xmlns:a16="http://schemas.microsoft.com/office/drawing/2014/main" id="{47D8DF34-EACB-521B-2670-3509A9FAAD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97382" y="5483872"/>
            <a:ext cx="3673319" cy="743912"/>
          </a:xfrm>
          <a:prstGeom prst="rect">
            <a:avLst/>
          </a:prstGeom>
          <a:noFill/>
        </p:spPr>
        <p:txBody>
          <a:bodyPr lIns="91434" tIns="45717" rIns="91434" bIns="45717"/>
          <a:lstStyle>
            <a:lvl1pPr marL="0" indent="0" algn="ctr">
              <a:buNone/>
              <a:defRPr sz="2876">
                <a:solidFill>
                  <a:srgbClr val="404040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ITEM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382A8E-97AA-521A-F85B-A57F92E45B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92030" y="3861662"/>
            <a:ext cx="3675025" cy="1411172"/>
          </a:xfrm>
          <a:prstGeom prst="rect">
            <a:avLst/>
          </a:prstGeom>
          <a:noFill/>
          <a:ln w="44450" cap="sq">
            <a:noFill/>
            <a:miter lim="800000"/>
          </a:ln>
        </p:spPr>
        <p:txBody>
          <a:bodyPr lIns="91434" tIns="45717" rIns="91434" bIns="45717" anchor="b">
            <a:normAutofit/>
          </a:bodyPr>
          <a:lstStyle>
            <a:lvl1pPr marL="0" indent="0" algn="ctr">
              <a:buNone/>
              <a:defRPr sz="9491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03</a:t>
            </a:r>
          </a:p>
        </p:txBody>
      </p:sp>
      <p:sp>
        <p:nvSpPr>
          <p:cNvPr id="13" name="Text Placeholder 59">
            <a:extLst>
              <a:ext uri="{FF2B5EF4-FFF2-40B4-BE49-F238E27FC236}">
                <a16:creationId xmlns:a16="http://schemas.microsoft.com/office/drawing/2014/main" id="{2F9B9FEA-5DB7-8AFE-9602-6441477DD66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890460" y="5504684"/>
            <a:ext cx="3673319" cy="743912"/>
          </a:xfrm>
          <a:prstGeom prst="rect">
            <a:avLst/>
          </a:prstGeom>
          <a:noFill/>
        </p:spPr>
        <p:txBody>
          <a:bodyPr lIns="91434" tIns="45717" rIns="91434" bIns="45717"/>
          <a:lstStyle>
            <a:lvl1pPr marL="0" indent="0" algn="ctr">
              <a:buNone/>
              <a:defRPr sz="2876">
                <a:solidFill>
                  <a:srgbClr val="404040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ITEM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ED3D61E2-D3AB-6CDB-F8EB-FABDC8B2CB0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2952250" y="3857901"/>
            <a:ext cx="3675025" cy="1411172"/>
          </a:xfrm>
          <a:prstGeom prst="rect">
            <a:avLst/>
          </a:prstGeom>
          <a:noFill/>
          <a:ln w="44450" cap="sq">
            <a:noFill/>
            <a:miter lim="800000"/>
          </a:ln>
        </p:spPr>
        <p:txBody>
          <a:bodyPr lIns="91434" tIns="45717" rIns="91434" bIns="45717" anchor="b">
            <a:normAutofit/>
          </a:bodyPr>
          <a:lstStyle>
            <a:lvl1pPr marL="0" indent="0" algn="ctr">
              <a:buNone/>
              <a:defRPr sz="9491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04</a:t>
            </a:r>
          </a:p>
        </p:txBody>
      </p:sp>
      <p:sp>
        <p:nvSpPr>
          <p:cNvPr id="15" name="Text Placeholder 59">
            <a:extLst>
              <a:ext uri="{FF2B5EF4-FFF2-40B4-BE49-F238E27FC236}">
                <a16:creationId xmlns:a16="http://schemas.microsoft.com/office/drawing/2014/main" id="{04327601-EC0F-7BE1-04C5-EE6C049DE36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2950677" y="5500923"/>
            <a:ext cx="3673319" cy="743912"/>
          </a:xfrm>
          <a:prstGeom prst="rect">
            <a:avLst/>
          </a:prstGeom>
          <a:noFill/>
        </p:spPr>
        <p:txBody>
          <a:bodyPr lIns="91434" tIns="45717" rIns="91434" bIns="45717"/>
          <a:lstStyle>
            <a:lvl1pPr marL="0" indent="0" algn="ctr">
              <a:buNone/>
              <a:defRPr sz="2876">
                <a:solidFill>
                  <a:srgbClr val="404040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ITEM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1004726-DC9F-B590-1FB8-1C6762ED53DD}"/>
              </a:ext>
            </a:extLst>
          </p:cNvPr>
          <p:cNvCxnSpPr/>
          <p:nvPr userDrawn="1"/>
        </p:nvCxnSpPr>
        <p:spPr>
          <a:xfrm flipV="1">
            <a:off x="5606777" y="2245600"/>
            <a:ext cx="11372422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18A4D121-0C83-FB2D-227C-6041ED1922B8}"/>
              </a:ext>
            </a:extLst>
          </p:cNvPr>
          <p:cNvSpPr txBox="1"/>
          <p:nvPr userDrawn="1"/>
        </p:nvSpPr>
        <p:spPr>
          <a:xfrm>
            <a:off x="979556" y="1007365"/>
            <a:ext cx="4556775" cy="1593296"/>
          </a:xfrm>
          <a:prstGeom prst="rect">
            <a:avLst/>
          </a:prstGeom>
          <a:noFill/>
        </p:spPr>
        <p:txBody>
          <a:bodyPr wrap="none" lIns="131484" tIns="65742" rIns="131484" bIns="65742" rtlCol="0">
            <a:spAutoFit/>
          </a:bodyPr>
          <a:lstStyle/>
          <a:p>
            <a:r>
              <a:rPr lang="pt-BR" sz="9491" dirty="0">
                <a:solidFill>
                  <a:schemeClr val="tx2"/>
                </a:solidFill>
                <a:latin typeface="DM Sans" pitchFamily="2" charset="0"/>
              </a:rPr>
              <a:t>Agenda</a:t>
            </a:r>
            <a:endParaRPr lang="en-US" sz="9491" dirty="0">
              <a:solidFill>
                <a:schemeClr val="tx2"/>
              </a:solidFill>
              <a:latin typeface="DM Sans" pitchFamily="2" charset="0"/>
            </a:endParaRPr>
          </a:p>
        </p:txBody>
      </p:sp>
      <p:cxnSp>
        <p:nvCxnSpPr>
          <p:cNvPr id="20" name="Conector reto 12">
            <a:extLst>
              <a:ext uri="{FF2B5EF4-FFF2-40B4-BE49-F238E27FC236}">
                <a16:creationId xmlns:a16="http://schemas.microsoft.com/office/drawing/2014/main" id="{86919837-450A-00C7-A47D-9A39FD44ABD0}"/>
              </a:ext>
            </a:extLst>
          </p:cNvPr>
          <p:cNvCxnSpPr/>
          <p:nvPr userDrawn="1"/>
        </p:nvCxnSpPr>
        <p:spPr>
          <a:xfrm>
            <a:off x="1314931" y="12834754"/>
            <a:ext cx="22579750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to 12">
            <a:extLst>
              <a:ext uri="{FF2B5EF4-FFF2-40B4-BE49-F238E27FC236}">
                <a16:creationId xmlns:a16="http://schemas.microsoft.com/office/drawing/2014/main" id="{A662A7E3-097F-C826-86EB-08AC47132D2F}"/>
              </a:ext>
            </a:extLst>
          </p:cNvPr>
          <p:cNvCxnSpPr/>
          <p:nvPr userDrawn="1"/>
        </p:nvCxnSpPr>
        <p:spPr>
          <a:xfrm>
            <a:off x="1007755" y="9018410"/>
            <a:ext cx="15422273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A0570105-FB3E-0016-9B6E-786C8357E3F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7" y="8914275"/>
            <a:ext cx="1382387" cy="1035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7578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12546588" y="525205"/>
            <a:ext cx="3780413" cy="835989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1205349" y="525205"/>
            <a:ext cx="11122085" cy="835989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5993619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191544" y="1614436"/>
            <a:ext cx="13149263" cy="3434386"/>
          </a:xfrm>
        </p:spPr>
        <p:txBody>
          <a:bodyPr anchor="b"/>
          <a:lstStyle>
            <a:lvl1pPr algn="ctr">
              <a:defRPr sz="8628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2191544" y="5181265"/>
            <a:ext cx="13149263" cy="2381691"/>
          </a:xfrm>
        </p:spPr>
        <p:txBody>
          <a:bodyPr/>
          <a:lstStyle>
            <a:lvl1pPr marL="0" indent="0" algn="ctr">
              <a:buNone/>
              <a:defRPr sz="3451"/>
            </a:lvl1pPr>
            <a:lvl2pPr marL="657454" indent="0" algn="ctr">
              <a:buNone/>
              <a:defRPr sz="2876"/>
            </a:lvl2pPr>
            <a:lvl3pPr marL="1314907" indent="0" algn="ctr">
              <a:buNone/>
              <a:defRPr sz="2588"/>
            </a:lvl3pPr>
            <a:lvl4pPr marL="1972361" indent="0" algn="ctr">
              <a:buNone/>
              <a:defRPr sz="2301"/>
            </a:lvl4pPr>
            <a:lvl5pPr marL="2629814" indent="0" algn="ctr">
              <a:buNone/>
              <a:defRPr sz="2301"/>
            </a:lvl5pPr>
            <a:lvl6pPr marL="3287268" indent="0" algn="ctr">
              <a:buNone/>
              <a:defRPr sz="2301"/>
            </a:lvl6pPr>
            <a:lvl7pPr marL="3944722" indent="0" algn="ctr">
              <a:buNone/>
              <a:defRPr sz="2301"/>
            </a:lvl7pPr>
            <a:lvl8pPr marL="4602175" indent="0" algn="ctr">
              <a:buNone/>
              <a:defRPr sz="2301"/>
            </a:lvl8pPr>
            <a:lvl9pPr marL="5259629" indent="0" algn="ctr">
              <a:buNone/>
              <a:defRPr sz="2301"/>
            </a:lvl9pPr>
          </a:lstStyle>
          <a:p>
            <a:r>
              <a:rPr lang="es-ES"/>
              <a:t>Haga clic para editar el estilo de subtítulo del patrón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3341628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0550035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96218" y="2459332"/>
            <a:ext cx="15121652" cy="4103451"/>
          </a:xfrm>
        </p:spPr>
        <p:txBody>
          <a:bodyPr anchor="b"/>
          <a:lstStyle>
            <a:lvl1pPr>
              <a:defRPr sz="8628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96218" y="6601603"/>
            <a:ext cx="15121652" cy="2157908"/>
          </a:xfrm>
        </p:spPr>
        <p:txBody>
          <a:bodyPr/>
          <a:lstStyle>
            <a:lvl1pPr marL="0" indent="0">
              <a:buNone/>
              <a:defRPr sz="3451">
                <a:solidFill>
                  <a:schemeClr val="tx1">
                    <a:tint val="75000"/>
                  </a:schemeClr>
                </a:solidFill>
              </a:defRPr>
            </a:lvl1pPr>
            <a:lvl2pPr marL="657454" indent="0">
              <a:buNone/>
              <a:defRPr sz="2876">
                <a:solidFill>
                  <a:schemeClr val="tx1">
                    <a:tint val="75000"/>
                  </a:schemeClr>
                </a:solidFill>
              </a:defRPr>
            </a:lvl2pPr>
            <a:lvl3pPr marL="1314907" indent="0">
              <a:buNone/>
              <a:defRPr sz="2588">
                <a:solidFill>
                  <a:schemeClr val="tx1">
                    <a:tint val="75000"/>
                  </a:schemeClr>
                </a:solidFill>
              </a:defRPr>
            </a:lvl3pPr>
            <a:lvl4pPr marL="1972361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4pPr>
            <a:lvl5pPr marL="2629814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5pPr>
            <a:lvl6pPr marL="3287268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6pPr>
            <a:lvl7pPr marL="3944722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7pPr>
            <a:lvl8pPr marL="4602175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8pPr>
            <a:lvl9pPr marL="5259629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4131760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1205349" y="2626027"/>
            <a:ext cx="7451249" cy="6259077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875752" y="2626027"/>
            <a:ext cx="7451249" cy="6259077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2091239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525206"/>
            <a:ext cx="15121652" cy="190672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207633" y="2418229"/>
            <a:ext cx="7417005" cy="1185136"/>
          </a:xfrm>
        </p:spPr>
        <p:txBody>
          <a:bodyPr anchor="b"/>
          <a:lstStyle>
            <a:lvl1pPr marL="0" indent="0">
              <a:buNone/>
              <a:defRPr sz="3451" b="1"/>
            </a:lvl1pPr>
            <a:lvl2pPr marL="657454" indent="0">
              <a:buNone/>
              <a:defRPr sz="2876" b="1"/>
            </a:lvl2pPr>
            <a:lvl3pPr marL="1314907" indent="0">
              <a:buNone/>
              <a:defRPr sz="2588" b="1"/>
            </a:lvl3pPr>
            <a:lvl4pPr marL="1972361" indent="0">
              <a:buNone/>
              <a:defRPr sz="2301" b="1"/>
            </a:lvl4pPr>
            <a:lvl5pPr marL="2629814" indent="0">
              <a:buNone/>
              <a:defRPr sz="2301" b="1"/>
            </a:lvl5pPr>
            <a:lvl6pPr marL="3287268" indent="0">
              <a:buNone/>
              <a:defRPr sz="2301" b="1"/>
            </a:lvl6pPr>
            <a:lvl7pPr marL="3944722" indent="0">
              <a:buNone/>
              <a:defRPr sz="2301" b="1"/>
            </a:lvl7pPr>
            <a:lvl8pPr marL="4602175" indent="0">
              <a:buNone/>
              <a:defRPr sz="2301" b="1"/>
            </a:lvl8pPr>
            <a:lvl9pPr marL="5259629" indent="0">
              <a:buNone/>
              <a:defRPr sz="2301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207633" y="3603365"/>
            <a:ext cx="7417005" cy="5300007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8875752" y="2418229"/>
            <a:ext cx="7453532" cy="1185136"/>
          </a:xfrm>
        </p:spPr>
        <p:txBody>
          <a:bodyPr anchor="b"/>
          <a:lstStyle>
            <a:lvl1pPr marL="0" indent="0">
              <a:buNone/>
              <a:defRPr sz="3451" b="1"/>
            </a:lvl1pPr>
            <a:lvl2pPr marL="657454" indent="0">
              <a:buNone/>
              <a:defRPr sz="2876" b="1"/>
            </a:lvl2pPr>
            <a:lvl3pPr marL="1314907" indent="0">
              <a:buNone/>
              <a:defRPr sz="2588" b="1"/>
            </a:lvl3pPr>
            <a:lvl4pPr marL="1972361" indent="0">
              <a:buNone/>
              <a:defRPr sz="2301" b="1"/>
            </a:lvl4pPr>
            <a:lvl5pPr marL="2629814" indent="0">
              <a:buNone/>
              <a:defRPr sz="2301" b="1"/>
            </a:lvl5pPr>
            <a:lvl6pPr marL="3287268" indent="0">
              <a:buNone/>
              <a:defRPr sz="2301" b="1"/>
            </a:lvl6pPr>
            <a:lvl7pPr marL="3944722" indent="0">
              <a:buNone/>
              <a:defRPr sz="2301" b="1"/>
            </a:lvl7pPr>
            <a:lvl8pPr marL="4602175" indent="0">
              <a:buNone/>
              <a:defRPr sz="2301" b="1"/>
            </a:lvl8pPr>
            <a:lvl9pPr marL="5259629" indent="0">
              <a:buNone/>
              <a:defRPr sz="2301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8875752" y="3603365"/>
            <a:ext cx="7453532" cy="5300007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9995893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7271006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6382994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657648"/>
            <a:ext cx="5654639" cy="2301769"/>
          </a:xfrm>
        </p:spPr>
        <p:txBody>
          <a:bodyPr anchor="b"/>
          <a:lstStyle>
            <a:lvl1pPr>
              <a:defRPr sz="4602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7453532" y="1420338"/>
            <a:ext cx="8875752" cy="7010349"/>
          </a:xfrm>
        </p:spPr>
        <p:txBody>
          <a:bodyPr/>
          <a:lstStyle>
            <a:lvl1pPr>
              <a:defRPr sz="4602"/>
            </a:lvl1pPr>
            <a:lvl2pPr>
              <a:defRPr sz="4026"/>
            </a:lvl2pPr>
            <a:lvl3pPr>
              <a:defRPr sz="3451"/>
            </a:lvl3pPr>
            <a:lvl4pPr>
              <a:defRPr sz="2876"/>
            </a:lvl4pPr>
            <a:lvl5pPr>
              <a:defRPr sz="2876"/>
            </a:lvl5pPr>
            <a:lvl6pPr>
              <a:defRPr sz="2876"/>
            </a:lvl6pPr>
            <a:lvl7pPr>
              <a:defRPr sz="2876"/>
            </a:lvl7pPr>
            <a:lvl8pPr>
              <a:defRPr sz="2876"/>
            </a:lvl8pPr>
            <a:lvl9pPr>
              <a:defRPr sz="2876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207633" y="2959417"/>
            <a:ext cx="5654639" cy="5482687"/>
          </a:xfrm>
        </p:spPr>
        <p:txBody>
          <a:bodyPr/>
          <a:lstStyle>
            <a:lvl1pPr marL="0" indent="0">
              <a:buNone/>
              <a:defRPr sz="2301"/>
            </a:lvl1pPr>
            <a:lvl2pPr marL="657454" indent="0">
              <a:buNone/>
              <a:defRPr sz="2013"/>
            </a:lvl2pPr>
            <a:lvl3pPr marL="1314907" indent="0">
              <a:buNone/>
              <a:defRPr sz="1726"/>
            </a:lvl3pPr>
            <a:lvl4pPr marL="1972361" indent="0">
              <a:buNone/>
              <a:defRPr sz="1438"/>
            </a:lvl4pPr>
            <a:lvl5pPr marL="2629814" indent="0">
              <a:buNone/>
              <a:defRPr sz="1438"/>
            </a:lvl5pPr>
            <a:lvl6pPr marL="3287268" indent="0">
              <a:buNone/>
              <a:defRPr sz="1438"/>
            </a:lvl6pPr>
            <a:lvl7pPr marL="3944722" indent="0">
              <a:buNone/>
              <a:defRPr sz="1438"/>
            </a:lvl7pPr>
            <a:lvl8pPr marL="4602175" indent="0">
              <a:buNone/>
              <a:defRPr sz="1438"/>
            </a:lvl8pPr>
            <a:lvl9pPr marL="5259629" indent="0">
              <a:buNone/>
              <a:defRPr sz="1438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7731560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657648"/>
            <a:ext cx="5654639" cy="2301769"/>
          </a:xfrm>
        </p:spPr>
        <p:txBody>
          <a:bodyPr anchor="b"/>
          <a:lstStyle>
            <a:lvl1pPr>
              <a:defRPr sz="4602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7453532" y="1420338"/>
            <a:ext cx="8875752" cy="7010349"/>
          </a:xfrm>
        </p:spPr>
        <p:txBody>
          <a:bodyPr/>
          <a:lstStyle>
            <a:lvl1pPr marL="0" indent="0">
              <a:buNone/>
              <a:defRPr sz="4602"/>
            </a:lvl1pPr>
            <a:lvl2pPr marL="657454" indent="0">
              <a:buNone/>
              <a:defRPr sz="4026"/>
            </a:lvl2pPr>
            <a:lvl3pPr marL="1314907" indent="0">
              <a:buNone/>
              <a:defRPr sz="3451"/>
            </a:lvl3pPr>
            <a:lvl4pPr marL="1972361" indent="0">
              <a:buNone/>
              <a:defRPr sz="2876"/>
            </a:lvl4pPr>
            <a:lvl5pPr marL="2629814" indent="0">
              <a:buNone/>
              <a:defRPr sz="2876"/>
            </a:lvl5pPr>
            <a:lvl6pPr marL="3287268" indent="0">
              <a:buNone/>
              <a:defRPr sz="2876"/>
            </a:lvl6pPr>
            <a:lvl7pPr marL="3944722" indent="0">
              <a:buNone/>
              <a:defRPr sz="2876"/>
            </a:lvl7pPr>
            <a:lvl8pPr marL="4602175" indent="0">
              <a:buNone/>
              <a:defRPr sz="2876"/>
            </a:lvl8pPr>
            <a:lvl9pPr marL="5259629" indent="0">
              <a:buNone/>
              <a:defRPr sz="2876"/>
            </a:lvl9pPr>
          </a:lstStyle>
          <a:p>
            <a:endParaRPr lang="es-CO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207633" y="2959417"/>
            <a:ext cx="5654639" cy="5482687"/>
          </a:xfrm>
        </p:spPr>
        <p:txBody>
          <a:bodyPr/>
          <a:lstStyle>
            <a:lvl1pPr marL="0" indent="0">
              <a:buNone/>
              <a:defRPr sz="2301"/>
            </a:lvl1pPr>
            <a:lvl2pPr marL="657454" indent="0">
              <a:buNone/>
              <a:defRPr sz="2013"/>
            </a:lvl2pPr>
            <a:lvl3pPr marL="1314907" indent="0">
              <a:buNone/>
              <a:defRPr sz="1726"/>
            </a:lvl3pPr>
            <a:lvl4pPr marL="1972361" indent="0">
              <a:buNone/>
              <a:defRPr sz="1438"/>
            </a:lvl4pPr>
            <a:lvl5pPr marL="2629814" indent="0">
              <a:buNone/>
              <a:defRPr sz="1438"/>
            </a:lvl5pPr>
            <a:lvl6pPr marL="3287268" indent="0">
              <a:buNone/>
              <a:defRPr sz="1438"/>
            </a:lvl6pPr>
            <a:lvl7pPr marL="3944722" indent="0">
              <a:buNone/>
              <a:defRPr sz="1438"/>
            </a:lvl7pPr>
            <a:lvl8pPr marL="4602175" indent="0">
              <a:buNone/>
              <a:defRPr sz="1438"/>
            </a:lvl8pPr>
            <a:lvl9pPr marL="5259629" indent="0">
              <a:buNone/>
              <a:defRPr sz="1438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0030395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1332C8F-8393-7475-6CEE-E964E49F9D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1083365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1332C8F-8393-7475-6CEE-E964E49F9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BA5B65-20C4-45AB-93D8-2859109E5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5350" y="564473"/>
            <a:ext cx="15121652" cy="907877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7" name="Conector reto 12">
            <a:extLst>
              <a:ext uri="{FF2B5EF4-FFF2-40B4-BE49-F238E27FC236}">
                <a16:creationId xmlns:a16="http://schemas.microsoft.com/office/drawing/2014/main" id="{8F6FE0E8-D6AE-B42B-D06E-5A00B9B24985}"/>
              </a:ext>
            </a:extLst>
          </p:cNvPr>
          <p:cNvCxnSpPr/>
          <p:nvPr userDrawn="1"/>
        </p:nvCxnSpPr>
        <p:spPr>
          <a:xfrm>
            <a:off x="1314931" y="12540282"/>
            <a:ext cx="22579750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to 12">
            <a:extLst>
              <a:ext uri="{FF2B5EF4-FFF2-40B4-BE49-F238E27FC236}">
                <a16:creationId xmlns:a16="http://schemas.microsoft.com/office/drawing/2014/main" id="{105163A6-0542-7752-ECE5-EFBED54C4E2E}"/>
              </a:ext>
            </a:extLst>
          </p:cNvPr>
          <p:cNvCxnSpPr/>
          <p:nvPr userDrawn="1"/>
        </p:nvCxnSpPr>
        <p:spPr>
          <a:xfrm>
            <a:off x="988129" y="9018410"/>
            <a:ext cx="1542227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2">
            <a:extLst>
              <a:ext uri="{FF2B5EF4-FFF2-40B4-BE49-F238E27FC236}">
                <a16:creationId xmlns:a16="http://schemas.microsoft.com/office/drawing/2014/main" id="{2218A07B-31B4-1B90-4C14-4B2A8EAA1504}"/>
              </a:ext>
            </a:extLst>
          </p:cNvPr>
          <p:cNvCxnSpPr/>
          <p:nvPr userDrawn="1"/>
        </p:nvCxnSpPr>
        <p:spPr>
          <a:xfrm>
            <a:off x="913079" y="1444934"/>
            <a:ext cx="156792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C6748F30-4954-6ABA-75DF-41F60085869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7" y="8914275"/>
            <a:ext cx="1382387" cy="1035667"/>
          </a:xfrm>
          <a:prstGeom prst="rect">
            <a:avLst/>
          </a:prstGeom>
        </p:spPr>
      </p:pic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18EBC07F-1EFB-E8C6-EC48-EC4527B51D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latin typeface="DM Sans" pitchFamily="2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02703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520776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12546588" y="525205"/>
            <a:ext cx="3780413" cy="835989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1205349" y="525205"/>
            <a:ext cx="11122085" cy="8359898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7424527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1332C8F-8393-7475-6CEE-E964E49F9D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1083365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1332C8F-8393-7475-6CEE-E964E49F9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BA5B65-20C4-45AB-93D8-2859109E5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5350" y="564473"/>
            <a:ext cx="15121652" cy="907877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7" name="Conector reto 12">
            <a:extLst>
              <a:ext uri="{FF2B5EF4-FFF2-40B4-BE49-F238E27FC236}">
                <a16:creationId xmlns:a16="http://schemas.microsoft.com/office/drawing/2014/main" id="{8F6FE0E8-D6AE-B42B-D06E-5A00B9B24985}"/>
              </a:ext>
            </a:extLst>
          </p:cNvPr>
          <p:cNvCxnSpPr/>
          <p:nvPr userDrawn="1"/>
        </p:nvCxnSpPr>
        <p:spPr>
          <a:xfrm>
            <a:off x="1314931" y="12540282"/>
            <a:ext cx="22579750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to 12">
            <a:extLst>
              <a:ext uri="{FF2B5EF4-FFF2-40B4-BE49-F238E27FC236}">
                <a16:creationId xmlns:a16="http://schemas.microsoft.com/office/drawing/2014/main" id="{105163A6-0542-7752-ECE5-EFBED54C4E2E}"/>
              </a:ext>
            </a:extLst>
          </p:cNvPr>
          <p:cNvCxnSpPr/>
          <p:nvPr userDrawn="1"/>
        </p:nvCxnSpPr>
        <p:spPr>
          <a:xfrm>
            <a:off x="988129" y="9018410"/>
            <a:ext cx="1542227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2">
            <a:extLst>
              <a:ext uri="{FF2B5EF4-FFF2-40B4-BE49-F238E27FC236}">
                <a16:creationId xmlns:a16="http://schemas.microsoft.com/office/drawing/2014/main" id="{2218A07B-31B4-1B90-4C14-4B2A8EAA1504}"/>
              </a:ext>
            </a:extLst>
          </p:cNvPr>
          <p:cNvCxnSpPr/>
          <p:nvPr userDrawn="1"/>
        </p:nvCxnSpPr>
        <p:spPr>
          <a:xfrm>
            <a:off x="913079" y="1444934"/>
            <a:ext cx="156792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C6748F30-4954-6ABA-75DF-41F60085869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7" y="8914275"/>
            <a:ext cx="1382387" cy="1035667"/>
          </a:xfrm>
          <a:prstGeom prst="rect">
            <a:avLst/>
          </a:prstGeom>
        </p:spPr>
      </p:pic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18EBC07F-1EFB-E8C6-EC48-EC4527B51D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latin typeface="DM Sans" pitchFamily="2" charset="0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Shape&#10;&#10;Description automatically generated">
            <a:extLst>
              <a:ext uri="{FF2B5EF4-FFF2-40B4-BE49-F238E27FC236}">
                <a16:creationId xmlns:a16="http://schemas.microsoft.com/office/drawing/2014/main" id="{7910D718-0075-ACBE-2861-0985E14771E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774508" y="3077689"/>
            <a:ext cx="8381447" cy="42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9645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052425C-0C69-73C9-AD07-977B9C7960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3321694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A910720C-0039-EF86-8BA7-0A6C5433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5350" y="525210"/>
            <a:ext cx="15121652" cy="902828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8073B40-971E-2009-F0CC-2BEAA6319E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05350" y="2626027"/>
            <a:ext cx="15121652" cy="62590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  <a:lvl2pPr>
              <a:defRPr>
                <a:solidFill>
                  <a:schemeClr val="bg1"/>
                </a:solidFill>
                <a:latin typeface="DM Sans" pitchFamily="2" charset="0"/>
              </a:defRPr>
            </a:lvl2pPr>
            <a:lvl3pPr>
              <a:defRPr>
                <a:solidFill>
                  <a:schemeClr val="bg1"/>
                </a:solidFill>
                <a:latin typeface="DM Sans" pitchFamily="2" charset="0"/>
              </a:defRPr>
            </a:lvl3pPr>
            <a:lvl4pPr>
              <a:defRPr>
                <a:solidFill>
                  <a:schemeClr val="bg1"/>
                </a:solidFill>
                <a:latin typeface="DM Sans" pitchFamily="2" charset="0"/>
              </a:defRPr>
            </a:lvl4pPr>
            <a:lvl5pPr>
              <a:defRPr>
                <a:solidFill>
                  <a:schemeClr val="bg1"/>
                </a:solidFill>
                <a:latin typeface="DM Sans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Conector reto 12">
            <a:extLst>
              <a:ext uri="{FF2B5EF4-FFF2-40B4-BE49-F238E27FC236}">
                <a16:creationId xmlns:a16="http://schemas.microsoft.com/office/drawing/2014/main" id="{BEB3AAC1-C310-C516-9DDD-8F50C21593BE}"/>
              </a:ext>
            </a:extLst>
          </p:cNvPr>
          <p:cNvCxnSpPr/>
          <p:nvPr userDrawn="1"/>
        </p:nvCxnSpPr>
        <p:spPr>
          <a:xfrm>
            <a:off x="1007755" y="9018410"/>
            <a:ext cx="1542227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2">
            <a:extLst>
              <a:ext uri="{FF2B5EF4-FFF2-40B4-BE49-F238E27FC236}">
                <a16:creationId xmlns:a16="http://schemas.microsoft.com/office/drawing/2014/main" id="{C675DBA4-5533-3C78-B9A6-6C7E42D2B9DA}"/>
              </a:ext>
            </a:extLst>
          </p:cNvPr>
          <p:cNvCxnSpPr/>
          <p:nvPr userDrawn="1"/>
        </p:nvCxnSpPr>
        <p:spPr>
          <a:xfrm>
            <a:off x="913079" y="1444403"/>
            <a:ext cx="15679247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2346F9F3-DBA2-84E8-9FC6-2083326B45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8" y="8914275"/>
            <a:ext cx="1382388" cy="1035667"/>
          </a:xfrm>
          <a:prstGeom prst="rect">
            <a:avLst/>
          </a:prstGeom>
        </p:spPr>
      </p:pic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55A8BE88-9348-E9A9-565F-C1B9C78147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1944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052425C-0C69-73C9-AD07-977B9C7960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2560066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052425C-0C69-73C9-AD07-977B9C7960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Logo, company name&#10;&#10;Description automatically generated">
            <a:extLst>
              <a:ext uri="{FF2B5EF4-FFF2-40B4-BE49-F238E27FC236}">
                <a16:creationId xmlns:a16="http://schemas.microsoft.com/office/drawing/2014/main" id="{35B43310-88E7-F65C-442E-2386FB30E67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8" y="8914275"/>
            <a:ext cx="1382388" cy="103566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A910720C-0039-EF86-8BA7-0A6C5433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5350" y="525209"/>
            <a:ext cx="15121652" cy="919239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Conector reto 12">
            <a:extLst>
              <a:ext uri="{FF2B5EF4-FFF2-40B4-BE49-F238E27FC236}">
                <a16:creationId xmlns:a16="http://schemas.microsoft.com/office/drawing/2014/main" id="{BEB3AAC1-C310-C516-9DDD-8F50C21593BE}"/>
              </a:ext>
            </a:extLst>
          </p:cNvPr>
          <p:cNvCxnSpPr/>
          <p:nvPr userDrawn="1"/>
        </p:nvCxnSpPr>
        <p:spPr>
          <a:xfrm>
            <a:off x="1007755" y="9018410"/>
            <a:ext cx="1542227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74EED22B-E715-8F56-5049-41B431887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endParaRPr lang="en-US" dirty="0"/>
          </a:p>
        </p:txBody>
      </p:sp>
      <p:cxnSp>
        <p:nvCxnSpPr>
          <p:cNvPr id="2" name="Conector reto 2">
            <a:extLst>
              <a:ext uri="{FF2B5EF4-FFF2-40B4-BE49-F238E27FC236}">
                <a16:creationId xmlns:a16="http://schemas.microsoft.com/office/drawing/2014/main" id="{FF8354DE-14EA-CD0D-1160-B58703E7A9B1}"/>
              </a:ext>
            </a:extLst>
          </p:cNvPr>
          <p:cNvCxnSpPr/>
          <p:nvPr userDrawn="1"/>
        </p:nvCxnSpPr>
        <p:spPr>
          <a:xfrm>
            <a:off x="913079" y="1444403"/>
            <a:ext cx="15679247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23371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149A0BD-B86F-E99A-385C-5A9416E72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5780060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m 10">
            <a:extLst>
              <a:ext uri="{FF2B5EF4-FFF2-40B4-BE49-F238E27FC236}">
                <a16:creationId xmlns:a16="http://schemas.microsoft.com/office/drawing/2014/main" id="{9072D5D8-9AFD-3102-BADF-14BAE68400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1273" t="21888" r="21273" b="21664"/>
          <a:stretch/>
        </p:blipFill>
        <p:spPr>
          <a:xfrm>
            <a:off x="-1" y="0"/>
            <a:ext cx="17532351" cy="9864725"/>
          </a:xfrm>
          <a:prstGeom prst="rect">
            <a:avLst/>
          </a:prstGeom>
        </p:spPr>
      </p:pic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3CEE2381-7AA8-93FF-0CE8-F892DDA61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latin typeface="DM San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4AF49-1C09-84C6-03AA-91D4DA54A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0197" y="564473"/>
            <a:ext cx="9589406" cy="1111927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64765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7C33B0-7533-DE54-DE8D-C9D6DE20A6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244975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m 7">
            <a:extLst>
              <a:ext uri="{FF2B5EF4-FFF2-40B4-BE49-F238E27FC236}">
                <a16:creationId xmlns:a16="http://schemas.microsoft.com/office/drawing/2014/main" id="{C68913BB-90DE-9372-5B77-ED0F7DCF35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1776" r="69864" b="21776"/>
          <a:stretch/>
        </p:blipFill>
        <p:spPr>
          <a:xfrm>
            <a:off x="8334441" y="0"/>
            <a:ext cx="9197909" cy="986472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D860EEC-9D7A-3F47-AA1F-46C1D09BE8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162" y="525209"/>
            <a:ext cx="15121652" cy="91923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A2ADC096-D227-2F99-63B6-EF8C0BD32E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00173" y="9143142"/>
            <a:ext cx="11530888" cy="52520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endParaRPr lang="en-US" dirty="0"/>
          </a:p>
        </p:txBody>
      </p:sp>
      <p:pic>
        <p:nvPicPr>
          <p:cNvPr id="16" name="Picture 15" descr="Logo, company name&#10;&#10;Description automatically generated">
            <a:extLst>
              <a:ext uri="{FF2B5EF4-FFF2-40B4-BE49-F238E27FC236}">
                <a16:creationId xmlns:a16="http://schemas.microsoft.com/office/drawing/2014/main" id="{C905770B-F100-8706-1376-988FD8BE642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8" y="8914275"/>
            <a:ext cx="1382388" cy="1035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4838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360D432-F57B-C6B1-8EFD-3489A1574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4272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F5427C-C502-CEA4-DFC3-19DBE8A359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4913" y="525463"/>
            <a:ext cx="15122525" cy="1906587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Zentria ic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991FF1-B668-E25B-24F3-867AB243B0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 descr="A picture containing light&#10;&#10;Description automatically generated">
            <a:extLst>
              <a:ext uri="{FF2B5EF4-FFF2-40B4-BE49-F238E27FC236}">
                <a16:creationId xmlns:a16="http://schemas.microsoft.com/office/drawing/2014/main" id="{ED4A1CAA-0D21-456F-697D-BBEF1872D3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990" y="2777455"/>
            <a:ext cx="4315201" cy="2154907"/>
          </a:xfrm>
          <a:prstGeom prst="rect">
            <a:avLst/>
          </a:prstGeom>
        </p:spPr>
      </p:pic>
      <p:pic>
        <p:nvPicPr>
          <p:cNvPr id="9" name="Picture 8" descr="A picture containing laser, way&#10;&#10;Description automatically generated">
            <a:extLst>
              <a:ext uri="{FF2B5EF4-FFF2-40B4-BE49-F238E27FC236}">
                <a16:creationId xmlns:a16="http://schemas.microsoft.com/office/drawing/2014/main" id="{98730E00-EE2B-A2CF-58BD-46F6EAC296B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6275" y="2774760"/>
            <a:ext cx="4315201" cy="2160294"/>
          </a:xfrm>
          <a:prstGeom prst="rect">
            <a:avLst/>
          </a:prstGeom>
        </p:spPr>
      </p:pic>
      <p:pic>
        <p:nvPicPr>
          <p:cNvPr id="11" name="Picture 10" descr="Shape, icon&#10;&#10;Description automatically generated">
            <a:extLst>
              <a:ext uri="{FF2B5EF4-FFF2-40B4-BE49-F238E27FC236}">
                <a16:creationId xmlns:a16="http://schemas.microsoft.com/office/drawing/2014/main" id="{CF04179F-9D3C-37BD-410F-7BEDE8BD585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6578" y="2064180"/>
            <a:ext cx="5736361" cy="2868182"/>
          </a:xfrm>
          <a:prstGeom prst="rect">
            <a:avLst/>
          </a:prstGeom>
        </p:spPr>
      </p:pic>
      <p:pic>
        <p:nvPicPr>
          <p:cNvPr id="13" name="Picture 12" descr="Shape&#10;&#10;Description automatically generated">
            <a:extLst>
              <a:ext uri="{FF2B5EF4-FFF2-40B4-BE49-F238E27FC236}">
                <a16:creationId xmlns:a16="http://schemas.microsoft.com/office/drawing/2014/main" id="{BC2EF6DC-84A8-FC16-B86E-DD0E164789A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9759" y="3693629"/>
            <a:ext cx="6309997" cy="316288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8C6A0AA-D4D0-EB37-F0B9-4B5ECFAC8B2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03" y="4063986"/>
            <a:ext cx="6317885" cy="3155000"/>
          </a:xfrm>
          <a:prstGeom prst="rect">
            <a:avLst/>
          </a:prstGeom>
        </p:spPr>
      </p:pic>
      <p:pic>
        <p:nvPicPr>
          <p:cNvPr id="17" name="Picture 16" descr="A picture containing indoor, laser, domestic cat&#10;&#10;Description automatically generated">
            <a:extLst>
              <a:ext uri="{FF2B5EF4-FFF2-40B4-BE49-F238E27FC236}">
                <a16:creationId xmlns:a16="http://schemas.microsoft.com/office/drawing/2014/main" id="{AE522012-22F5-0D3F-18B7-36CDEA24BBB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02" y="5977561"/>
            <a:ext cx="6317885" cy="3162886"/>
          </a:xfrm>
          <a:prstGeom prst="rect">
            <a:avLst/>
          </a:prstGeom>
        </p:spPr>
      </p:pic>
      <p:pic>
        <p:nvPicPr>
          <p:cNvPr id="19" name="Picture 18" descr="Shape&#10;&#10;Description automatically generated with low confidence">
            <a:extLst>
              <a:ext uri="{FF2B5EF4-FFF2-40B4-BE49-F238E27FC236}">
                <a16:creationId xmlns:a16="http://schemas.microsoft.com/office/drawing/2014/main" id="{32A14AEF-961F-CD01-15B2-ACD63346B2C0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0823" y="4718674"/>
            <a:ext cx="6317885" cy="3155000"/>
          </a:xfrm>
          <a:prstGeom prst="rect">
            <a:avLst/>
          </a:prstGeom>
        </p:spPr>
      </p:pic>
      <p:pic>
        <p:nvPicPr>
          <p:cNvPr id="21" name="Picture 20" descr="A picture containing laser, night sky&#10;&#10;Description automatically generated">
            <a:extLst>
              <a:ext uri="{FF2B5EF4-FFF2-40B4-BE49-F238E27FC236}">
                <a16:creationId xmlns:a16="http://schemas.microsoft.com/office/drawing/2014/main" id="{306D1A31-6192-4B53-E920-EFB8610544EE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0873" y="5926566"/>
            <a:ext cx="6949674" cy="347917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8C3A544-6363-90C8-30E6-F088B2B25E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9281" t="16881" r="60208" b="17242"/>
          <a:stretch/>
        </p:blipFill>
        <p:spPr>
          <a:xfrm>
            <a:off x="14763763" y="6998676"/>
            <a:ext cx="1651380" cy="143698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FB22998-185A-2EE3-810A-E4AE7FC0FE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40044" t="28434" r="38523" b="11508"/>
          <a:stretch/>
        </p:blipFill>
        <p:spPr>
          <a:xfrm>
            <a:off x="15219825" y="3719111"/>
            <a:ext cx="1160060" cy="131008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DC03A21-9375-4AF5-58B4-4A28958E60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61986" t="27711" r="28684" b="17243"/>
          <a:stretch/>
        </p:blipFill>
        <p:spPr>
          <a:xfrm>
            <a:off x="15219825" y="5428204"/>
            <a:ext cx="504967" cy="120077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6F97354-6329-AF62-7ED8-0767864F20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71857" t="20559" r="12509" b="20003"/>
          <a:stretch/>
        </p:blipFill>
        <p:spPr>
          <a:xfrm>
            <a:off x="15808129" y="5278297"/>
            <a:ext cx="846161" cy="1296537"/>
          </a:xfrm>
          <a:prstGeom prst="rect">
            <a:avLst/>
          </a:prstGeom>
        </p:spPr>
      </p:pic>
      <p:sp>
        <p:nvSpPr>
          <p:cNvPr id="26" name="Oval 4">
            <a:extLst>
              <a:ext uri="{FF2B5EF4-FFF2-40B4-BE49-F238E27FC236}">
                <a16:creationId xmlns:a16="http://schemas.microsoft.com/office/drawing/2014/main" id="{B6EE72E2-4DB1-E3AD-AC3F-24D2554EC7DC}"/>
              </a:ext>
            </a:extLst>
          </p:cNvPr>
          <p:cNvSpPr/>
          <p:nvPr userDrawn="1"/>
        </p:nvSpPr>
        <p:spPr>
          <a:xfrm>
            <a:off x="7406585" y="6608362"/>
            <a:ext cx="2355159" cy="2012232"/>
          </a:xfrm>
          <a:custGeom>
            <a:avLst/>
            <a:gdLst>
              <a:gd name="connsiteX0" fmla="*/ 0 w 3789333"/>
              <a:gd name="connsiteY0" fmla="*/ 1835426 h 3670851"/>
              <a:gd name="connsiteX1" fmla="*/ 1894667 w 3789333"/>
              <a:gd name="connsiteY1" fmla="*/ 0 h 3670851"/>
              <a:gd name="connsiteX2" fmla="*/ 3789334 w 3789333"/>
              <a:gd name="connsiteY2" fmla="*/ 1835426 h 3670851"/>
              <a:gd name="connsiteX3" fmla="*/ 1894667 w 3789333"/>
              <a:gd name="connsiteY3" fmla="*/ 3670852 h 3670851"/>
              <a:gd name="connsiteX4" fmla="*/ 0 w 3789333"/>
              <a:gd name="connsiteY4" fmla="*/ 1835426 h 3670851"/>
              <a:gd name="connsiteX0" fmla="*/ 17 w 3789351"/>
              <a:gd name="connsiteY0" fmla="*/ 2325756 h 4161182"/>
              <a:gd name="connsiteX1" fmla="*/ 1921189 w 3789351"/>
              <a:gd name="connsiteY1" fmla="*/ 0 h 4161182"/>
              <a:gd name="connsiteX2" fmla="*/ 3789351 w 3789351"/>
              <a:gd name="connsiteY2" fmla="*/ 2325756 h 4161182"/>
              <a:gd name="connsiteX3" fmla="*/ 1894684 w 3789351"/>
              <a:gd name="connsiteY3" fmla="*/ 4161182 h 4161182"/>
              <a:gd name="connsiteX4" fmla="*/ 17 w 3789351"/>
              <a:gd name="connsiteY4" fmla="*/ 2325756 h 4161182"/>
              <a:gd name="connsiteX0" fmla="*/ 8 w 4398942"/>
              <a:gd name="connsiteY0" fmla="*/ 2272783 h 4161287"/>
              <a:gd name="connsiteX1" fmla="*/ 2530780 w 4398942"/>
              <a:gd name="connsiteY1" fmla="*/ 36 h 4161287"/>
              <a:gd name="connsiteX2" fmla="*/ 4398942 w 4398942"/>
              <a:gd name="connsiteY2" fmla="*/ 2325792 h 4161287"/>
              <a:gd name="connsiteX3" fmla="*/ 2504275 w 4398942"/>
              <a:gd name="connsiteY3" fmla="*/ 4161218 h 4161287"/>
              <a:gd name="connsiteX4" fmla="*/ 8 w 4398942"/>
              <a:gd name="connsiteY4" fmla="*/ 2272783 h 4161287"/>
              <a:gd name="connsiteX0" fmla="*/ 8 w 5048298"/>
              <a:gd name="connsiteY0" fmla="*/ 2272829 h 4161424"/>
              <a:gd name="connsiteX1" fmla="*/ 2530780 w 5048298"/>
              <a:gd name="connsiteY1" fmla="*/ 82 h 4161424"/>
              <a:gd name="connsiteX2" fmla="*/ 5048298 w 5048298"/>
              <a:gd name="connsiteY2" fmla="*/ 2352342 h 4161424"/>
              <a:gd name="connsiteX3" fmla="*/ 2504275 w 5048298"/>
              <a:gd name="connsiteY3" fmla="*/ 4161264 h 4161424"/>
              <a:gd name="connsiteX4" fmla="*/ 8 w 5048298"/>
              <a:gd name="connsiteY4" fmla="*/ 2272829 h 4161424"/>
              <a:gd name="connsiteX0" fmla="*/ 0 w 5048290"/>
              <a:gd name="connsiteY0" fmla="*/ 2272834 h 4704704"/>
              <a:gd name="connsiteX1" fmla="*/ 2530772 w 5048290"/>
              <a:gd name="connsiteY1" fmla="*/ 87 h 4704704"/>
              <a:gd name="connsiteX2" fmla="*/ 5048290 w 5048290"/>
              <a:gd name="connsiteY2" fmla="*/ 2352347 h 4704704"/>
              <a:gd name="connsiteX3" fmla="*/ 2530771 w 5048290"/>
              <a:gd name="connsiteY3" fmla="*/ 4704608 h 4704704"/>
              <a:gd name="connsiteX4" fmla="*/ 0 w 5048290"/>
              <a:gd name="connsiteY4" fmla="*/ 2272834 h 4704704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123 w 5048413"/>
              <a:gd name="connsiteY0" fmla="*/ 2272834 h 4718236"/>
              <a:gd name="connsiteX1" fmla="*/ 2530895 w 5048413"/>
              <a:gd name="connsiteY1" fmla="*/ 87 h 4718236"/>
              <a:gd name="connsiteX2" fmla="*/ 5048413 w 5048413"/>
              <a:gd name="connsiteY2" fmla="*/ 2352347 h 4718236"/>
              <a:gd name="connsiteX3" fmla="*/ 2438128 w 5048413"/>
              <a:gd name="connsiteY3" fmla="*/ 4717860 h 4718236"/>
              <a:gd name="connsiteX4" fmla="*/ 123 w 5048413"/>
              <a:gd name="connsiteY4" fmla="*/ 2272834 h 4718236"/>
              <a:gd name="connsiteX0" fmla="*/ 484 w 5048774"/>
              <a:gd name="connsiteY0" fmla="*/ 2286085 h 4731487"/>
              <a:gd name="connsiteX1" fmla="*/ 2624022 w 5048774"/>
              <a:gd name="connsiteY1" fmla="*/ 86 h 4731487"/>
              <a:gd name="connsiteX2" fmla="*/ 5048774 w 5048774"/>
              <a:gd name="connsiteY2" fmla="*/ 2365598 h 4731487"/>
              <a:gd name="connsiteX3" fmla="*/ 2438489 w 5048774"/>
              <a:gd name="connsiteY3" fmla="*/ 4731111 h 4731487"/>
              <a:gd name="connsiteX4" fmla="*/ 484 w 5048774"/>
              <a:gd name="connsiteY4" fmla="*/ 2286085 h 4731487"/>
              <a:gd name="connsiteX0" fmla="*/ 204 w 5048494"/>
              <a:gd name="connsiteY0" fmla="*/ 2299336 h 4744738"/>
              <a:gd name="connsiteX1" fmla="*/ 2557481 w 5048494"/>
              <a:gd name="connsiteY1" fmla="*/ 85 h 4744738"/>
              <a:gd name="connsiteX2" fmla="*/ 5048494 w 5048494"/>
              <a:gd name="connsiteY2" fmla="*/ 2378849 h 4744738"/>
              <a:gd name="connsiteX3" fmla="*/ 2438209 w 5048494"/>
              <a:gd name="connsiteY3" fmla="*/ 4744362 h 4744738"/>
              <a:gd name="connsiteX4" fmla="*/ 204 w 5048494"/>
              <a:gd name="connsiteY4" fmla="*/ 2299336 h 4744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48494" h="4744738">
                <a:moveTo>
                  <a:pt x="204" y="2299336"/>
                </a:moveTo>
                <a:cubicBezTo>
                  <a:pt x="20083" y="1508623"/>
                  <a:pt x="1464308" y="-13167"/>
                  <a:pt x="2557481" y="85"/>
                </a:cubicBezTo>
                <a:cubicBezTo>
                  <a:pt x="3650654" y="13337"/>
                  <a:pt x="5048494" y="1365171"/>
                  <a:pt x="5048494" y="2378849"/>
                </a:cubicBezTo>
                <a:cubicBezTo>
                  <a:pt x="5048494" y="3392527"/>
                  <a:pt x="3451869" y="4770866"/>
                  <a:pt x="2438209" y="4744362"/>
                </a:cubicBezTo>
                <a:cubicBezTo>
                  <a:pt x="1424549" y="4717858"/>
                  <a:pt x="-19675" y="3090049"/>
                  <a:pt x="204" y="2299336"/>
                </a:cubicBezTo>
                <a:close/>
              </a:path>
            </a:pathLst>
          </a:cu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4">
            <a:extLst>
              <a:ext uri="{FF2B5EF4-FFF2-40B4-BE49-F238E27FC236}">
                <a16:creationId xmlns:a16="http://schemas.microsoft.com/office/drawing/2014/main" id="{FF4EFFE0-7897-DBFD-CE89-6975F79C255D}"/>
              </a:ext>
            </a:extLst>
          </p:cNvPr>
          <p:cNvSpPr/>
          <p:nvPr userDrawn="1"/>
        </p:nvSpPr>
        <p:spPr>
          <a:xfrm>
            <a:off x="7128097" y="4147443"/>
            <a:ext cx="2355159" cy="2012232"/>
          </a:xfrm>
          <a:custGeom>
            <a:avLst/>
            <a:gdLst>
              <a:gd name="connsiteX0" fmla="*/ 0 w 3789333"/>
              <a:gd name="connsiteY0" fmla="*/ 1835426 h 3670851"/>
              <a:gd name="connsiteX1" fmla="*/ 1894667 w 3789333"/>
              <a:gd name="connsiteY1" fmla="*/ 0 h 3670851"/>
              <a:gd name="connsiteX2" fmla="*/ 3789334 w 3789333"/>
              <a:gd name="connsiteY2" fmla="*/ 1835426 h 3670851"/>
              <a:gd name="connsiteX3" fmla="*/ 1894667 w 3789333"/>
              <a:gd name="connsiteY3" fmla="*/ 3670852 h 3670851"/>
              <a:gd name="connsiteX4" fmla="*/ 0 w 3789333"/>
              <a:gd name="connsiteY4" fmla="*/ 1835426 h 3670851"/>
              <a:gd name="connsiteX0" fmla="*/ 17 w 3789351"/>
              <a:gd name="connsiteY0" fmla="*/ 2325756 h 4161182"/>
              <a:gd name="connsiteX1" fmla="*/ 1921189 w 3789351"/>
              <a:gd name="connsiteY1" fmla="*/ 0 h 4161182"/>
              <a:gd name="connsiteX2" fmla="*/ 3789351 w 3789351"/>
              <a:gd name="connsiteY2" fmla="*/ 2325756 h 4161182"/>
              <a:gd name="connsiteX3" fmla="*/ 1894684 w 3789351"/>
              <a:gd name="connsiteY3" fmla="*/ 4161182 h 4161182"/>
              <a:gd name="connsiteX4" fmla="*/ 17 w 3789351"/>
              <a:gd name="connsiteY4" fmla="*/ 2325756 h 4161182"/>
              <a:gd name="connsiteX0" fmla="*/ 8 w 4398942"/>
              <a:gd name="connsiteY0" fmla="*/ 2272783 h 4161287"/>
              <a:gd name="connsiteX1" fmla="*/ 2530780 w 4398942"/>
              <a:gd name="connsiteY1" fmla="*/ 36 h 4161287"/>
              <a:gd name="connsiteX2" fmla="*/ 4398942 w 4398942"/>
              <a:gd name="connsiteY2" fmla="*/ 2325792 h 4161287"/>
              <a:gd name="connsiteX3" fmla="*/ 2504275 w 4398942"/>
              <a:gd name="connsiteY3" fmla="*/ 4161218 h 4161287"/>
              <a:gd name="connsiteX4" fmla="*/ 8 w 4398942"/>
              <a:gd name="connsiteY4" fmla="*/ 2272783 h 4161287"/>
              <a:gd name="connsiteX0" fmla="*/ 8 w 5048298"/>
              <a:gd name="connsiteY0" fmla="*/ 2272829 h 4161424"/>
              <a:gd name="connsiteX1" fmla="*/ 2530780 w 5048298"/>
              <a:gd name="connsiteY1" fmla="*/ 82 h 4161424"/>
              <a:gd name="connsiteX2" fmla="*/ 5048298 w 5048298"/>
              <a:gd name="connsiteY2" fmla="*/ 2352342 h 4161424"/>
              <a:gd name="connsiteX3" fmla="*/ 2504275 w 5048298"/>
              <a:gd name="connsiteY3" fmla="*/ 4161264 h 4161424"/>
              <a:gd name="connsiteX4" fmla="*/ 8 w 5048298"/>
              <a:gd name="connsiteY4" fmla="*/ 2272829 h 4161424"/>
              <a:gd name="connsiteX0" fmla="*/ 0 w 5048290"/>
              <a:gd name="connsiteY0" fmla="*/ 2272834 h 4704704"/>
              <a:gd name="connsiteX1" fmla="*/ 2530772 w 5048290"/>
              <a:gd name="connsiteY1" fmla="*/ 87 h 4704704"/>
              <a:gd name="connsiteX2" fmla="*/ 5048290 w 5048290"/>
              <a:gd name="connsiteY2" fmla="*/ 2352347 h 4704704"/>
              <a:gd name="connsiteX3" fmla="*/ 2530771 w 5048290"/>
              <a:gd name="connsiteY3" fmla="*/ 4704608 h 4704704"/>
              <a:gd name="connsiteX4" fmla="*/ 0 w 5048290"/>
              <a:gd name="connsiteY4" fmla="*/ 2272834 h 4704704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123 w 5048413"/>
              <a:gd name="connsiteY0" fmla="*/ 2272834 h 4718236"/>
              <a:gd name="connsiteX1" fmla="*/ 2530895 w 5048413"/>
              <a:gd name="connsiteY1" fmla="*/ 87 h 4718236"/>
              <a:gd name="connsiteX2" fmla="*/ 5048413 w 5048413"/>
              <a:gd name="connsiteY2" fmla="*/ 2352347 h 4718236"/>
              <a:gd name="connsiteX3" fmla="*/ 2438128 w 5048413"/>
              <a:gd name="connsiteY3" fmla="*/ 4717860 h 4718236"/>
              <a:gd name="connsiteX4" fmla="*/ 123 w 5048413"/>
              <a:gd name="connsiteY4" fmla="*/ 2272834 h 4718236"/>
              <a:gd name="connsiteX0" fmla="*/ 484 w 5048774"/>
              <a:gd name="connsiteY0" fmla="*/ 2286085 h 4731487"/>
              <a:gd name="connsiteX1" fmla="*/ 2624022 w 5048774"/>
              <a:gd name="connsiteY1" fmla="*/ 86 h 4731487"/>
              <a:gd name="connsiteX2" fmla="*/ 5048774 w 5048774"/>
              <a:gd name="connsiteY2" fmla="*/ 2365598 h 4731487"/>
              <a:gd name="connsiteX3" fmla="*/ 2438489 w 5048774"/>
              <a:gd name="connsiteY3" fmla="*/ 4731111 h 4731487"/>
              <a:gd name="connsiteX4" fmla="*/ 484 w 5048774"/>
              <a:gd name="connsiteY4" fmla="*/ 2286085 h 4731487"/>
              <a:gd name="connsiteX0" fmla="*/ 204 w 5048494"/>
              <a:gd name="connsiteY0" fmla="*/ 2299336 h 4744738"/>
              <a:gd name="connsiteX1" fmla="*/ 2557481 w 5048494"/>
              <a:gd name="connsiteY1" fmla="*/ 85 h 4744738"/>
              <a:gd name="connsiteX2" fmla="*/ 5048494 w 5048494"/>
              <a:gd name="connsiteY2" fmla="*/ 2378849 h 4744738"/>
              <a:gd name="connsiteX3" fmla="*/ 2438209 w 5048494"/>
              <a:gd name="connsiteY3" fmla="*/ 4744362 h 4744738"/>
              <a:gd name="connsiteX4" fmla="*/ 204 w 5048494"/>
              <a:gd name="connsiteY4" fmla="*/ 2299336 h 4744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48494" h="4744738">
                <a:moveTo>
                  <a:pt x="204" y="2299336"/>
                </a:moveTo>
                <a:cubicBezTo>
                  <a:pt x="20083" y="1508623"/>
                  <a:pt x="1464308" y="-13167"/>
                  <a:pt x="2557481" y="85"/>
                </a:cubicBezTo>
                <a:cubicBezTo>
                  <a:pt x="3650654" y="13337"/>
                  <a:pt x="5048494" y="1365171"/>
                  <a:pt x="5048494" y="2378849"/>
                </a:cubicBezTo>
                <a:cubicBezTo>
                  <a:pt x="5048494" y="3392527"/>
                  <a:pt x="3451869" y="4770866"/>
                  <a:pt x="2438209" y="4744362"/>
                </a:cubicBezTo>
                <a:cubicBezTo>
                  <a:pt x="1424549" y="4717858"/>
                  <a:pt x="-19675" y="3090049"/>
                  <a:pt x="204" y="2299336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8992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07591" y="9143139"/>
            <a:ext cx="5917168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F67970-BEFA-5A10-A5F9-72D9191C87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88513198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21" imgH="420" progId="TCLayout.ActiveDocument.1">
                  <p:embed/>
                </p:oleObj>
              </mc:Choice>
              <mc:Fallback>
                <p:oleObj name="think-cell Slide" r:id="rId12" imgW="421" imgH="42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31ACEA0-4818-4BCB-B75C-EB229EED6C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Box 14">
            <a:extLst>
              <a:ext uri="{FF2B5EF4-FFF2-40B4-BE49-F238E27FC236}">
                <a16:creationId xmlns:a16="http://schemas.microsoft.com/office/drawing/2014/main" id="{5D655657-F95F-B53C-413F-69DE6A8ECB6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327002" y="9349876"/>
            <a:ext cx="431459" cy="265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marL="0" marR="0" lvl="0" indent="0" algn="r" defTabSz="137389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9D6822A-07B1-4F91-A295-811CDA9E83C4}" type="slidenum">
              <a:rPr kumimoji="0" lang="en-US" sz="1726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itchFamily="34" charset="0"/>
              </a:rPr>
              <a:pPr marL="0" marR="0" lvl="0" indent="0" algn="r" defTabSz="137389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726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sp>
        <p:nvSpPr>
          <p:cNvPr id="9" name="Retângulo 18">
            <a:extLst>
              <a:ext uri="{FF2B5EF4-FFF2-40B4-BE49-F238E27FC236}">
                <a16:creationId xmlns:a16="http://schemas.microsoft.com/office/drawing/2014/main" id="{28DA736E-7D84-589A-08F3-F2D07B8C0553}"/>
              </a:ext>
            </a:extLst>
          </p:cNvPr>
          <p:cNvSpPr/>
          <p:nvPr userDrawn="1"/>
        </p:nvSpPr>
        <p:spPr>
          <a:xfrm>
            <a:off x="12604805" y="54453"/>
            <a:ext cx="4343368" cy="382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51754" tIns="51754" rIns="51754" bIns="51754">
            <a:spAutoFit/>
          </a:bodyPr>
          <a:lstStyle/>
          <a:p>
            <a:pPr marL="0" marR="0" lvl="0" indent="0" algn="r" defTabSz="1314555" rtl="0" eaLnBrk="1" fontAlgn="base" latinLnBrk="0" hangingPunct="1">
              <a:lnSpc>
                <a:spcPct val="110000"/>
              </a:lnSpc>
              <a:spcBef>
                <a:spcPts val="431"/>
              </a:spcBef>
              <a:spcAft>
                <a:spcPct val="0"/>
              </a:spcAft>
              <a:buClr>
                <a:srgbClr val="00446B"/>
              </a:buClr>
              <a:buSzTx/>
              <a:buFontTx/>
              <a:buNone/>
              <a:tabLst/>
              <a:defRPr/>
            </a:pPr>
            <a:r>
              <a:rPr kumimoji="0" lang="es-CO" sz="1726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Confidencial</a:t>
            </a:r>
            <a:endParaRPr kumimoji="0" lang="pt-BR" sz="1726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6708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8" r:id="rId2"/>
    <p:sldLayoutId id="2147483725" r:id="rId3"/>
    <p:sldLayoutId id="2147483728" r:id="rId4"/>
    <p:sldLayoutId id="2147483651" r:id="rId5"/>
    <p:sldLayoutId id="2147483709" r:id="rId6"/>
    <p:sldLayoutId id="2147483652" r:id="rId7"/>
    <p:sldLayoutId id="2147483711" r:id="rId8"/>
    <p:sldLayoutId id="2147483727" r:id="rId9"/>
  </p:sldLayoutIdLst>
  <p:txStyles>
    <p:titleStyle>
      <a:lvl1pPr algn="l" defTabSz="1314907" rtl="0" eaLnBrk="1" latinLnBrk="0" hangingPunct="1">
        <a:lnSpc>
          <a:spcPct val="90000"/>
        </a:lnSpc>
        <a:spcBef>
          <a:spcPct val="0"/>
        </a:spcBef>
        <a:buNone/>
        <a:defRPr sz="632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8727" indent="-328727" algn="l" defTabSz="1314907" rtl="0" eaLnBrk="1" latinLnBrk="0" hangingPunct="1">
        <a:lnSpc>
          <a:spcPct val="90000"/>
        </a:lnSpc>
        <a:spcBef>
          <a:spcPts val="1438"/>
        </a:spcBef>
        <a:buFont typeface="Arial" panose="020B0604020202020204" pitchFamily="34" charset="0"/>
        <a:buChar char="•"/>
        <a:defRPr sz="4026" kern="1200">
          <a:solidFill>
            <a:schemeClr val="tx1"/>
          </a:solidFill>
          <a:latin typeface="+mn-lt"/>
          <a:ea typeface="+mn-ea"/>
          <a:cs typeface="+mn-cs"/>
        </a:defRPr>
      </a:lvl1pPr>
      <a:lvl2pPr marL="986180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3451" kern="1200">
          <a:solidFill>
            <a:schemeClr val="tx1"/>
          </a:solidFill>
          <a:latin typeface="+mn-lt"/>
          <a:ea typeface="+mn-ea"/>
          <a:cs typeface="+mn-cs"/>
        </a:defRPr>
      </a:lvl2pPr>
      <a:lvl3pPr marL="1643634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3pPr>
      <a:lvl4pPr marL="230108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958541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615995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427344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930902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588356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1pPr>
      <a:lvl2pPr marL="65745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2pPr>
      <a:lvl3pPr marL="1314907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3pPr>
      <a:lvl4pPr marL="1972361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62981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287268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3944722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602175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259629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7684855" cy="9953292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298373" y="3248677"/>
            <a:ext cx="8888099" cy="19067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1205349" y="9143139"/>
            <a:ext cx="3944779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5807591" y="9143139"/>
            <a:ext cx="5917168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2382222" y="9143139"/>
            <a:ext cx="3944779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948332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</p:sldLayoutIdLst>
  <p:txStyles>
    <p:titleStyle>
      <a:lvl1pPr algn="ctr" defTabSz="1314907" rtl="0" eaLnBrk="1" latinLnBrk="0" hangingPunct="1">
        <a:lnSpc>
          <a:spcPct val="90000"/>
        </a:lnSpc>
        <a:spcBef>
          <a:spcPct val="0"/>
        </a:spcBef>
        <a:buNone/>
        <a:defRPr sz="5033" b="0" i="0" kern="1200">
          <a:solidFill>
            <a:srgbClr val="762344"/>
          </a:solidFill>
          <a:latin typeface="+mn-lt"/>
          <a:ea typeface="+mj-ea"/>
          <a:cs typeface="+mj-cs"/>
        </a:defRPr>
      </a:lvl1pPr>
    </p:titleStyle>
    <p:bodyStyle>
      <a:lvl1pPr marL="328727" indent="-328727" algn="l" defTabSz="1314907" rtl="0" eaLnBrk="1" latinLnBrk="0" hangingPunct="1">
        <a:lnSpc>
          <a:spcPct val="90000"/>
        </a:lnSpc>
        <a:spcBef>
          <a:spcPts val="1438"/>
        </a:spcBef>
        <a:buFont typeface="Arial" panose="020B0604020202020204" pitchFamily="34" charset="0"/>
        <a:buChar char="•"/>
        <a:defRPr sz="4026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1pPr>
      <a:lvl2pPr marL="986180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3451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2pPr>
      <a:lvl3pPr marL="1643634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876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3pPr>
      <a:lvl4pPr marL="230108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4pPr>
      <a:lvl5pPr marL="2958541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5pPr>
      <a:lvl6pPr marL="3615995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427344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930902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588356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1pPr>
      <a:lvl2pPr marL="65745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2pPr>
      <a:lvl3pPr marL="1314907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3pPr>
      <a:lvl4pPr marL="1972361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62981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287268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3944722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602175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259629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F42D6548-3415-4744-B15C-49F42E56C2A4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84" y="7827"/>
            <a:ext cx="17499675" cy="9849071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1205349" y="525206"/>
            <a:ext cx="15121652" cy="19067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205349" y="2626027"/>
            <a:ext cx="15121652" cy="62590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1205349" y="9143139"/>
            <a:ext cx="3944779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5807591" y="9143139"/>
            <a:ext cx="5917168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2382222" y="9143139"/>
            <a:ext cx="3944779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0C397556-D9EA-4FFE-AE48-9A5C6D5FA0A0}"/>
              </a:ext>
            </a:extLst>
          </p:cNvPr>
          <p:cNvCxnSpPr/>
          <p:nvPr userDrawn="1"/>
        </p:nvCxnSpPr>
        <p:spPr>
          <a:xfrm>
            <a:off x="9824377" y="7534771"/>
            <a:ext cx="7150694" cy="0"/>
          </a:xfrm>
          <a:prstGeom prst="line">
            <a:avLst/>
          </a:prstGeom>
          <a:ln>
            <a:solidFill>
              <a:srgbClr val="7623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1064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</p:sldLayoutIdLst>
  <p:txStyles>
    <p:titleStyle>
      <a:lvl1pPr algn="l" defTabSz="1314907" rtl="0" eaLnBrk="1" latinLnBrk="0" hangingPunct="1">
        <a:lnSpc>
          <a:spcPct val="90000"/>
        </a:lnSpc>
        <a:spcBef>
          <a:spcPct val="0"/>
        </a:spcBef>
        <a:buNone/>
        <a:defRPr sz="632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8727" indent="-328727" algn="l" defTabSz="1314907" rtl="0" eaLnBrk="1" latinLnBrk="0" hangingPunct="1">
        <a:lnSpc>
          <a:spcPct val="90000"/>
        </a:lnSpc>
        <a:spcBef>
          <a:spcPts val="1438"/>
        </a:spcBef>
        <a:buFont typeface="Arial" panose="020B0604020202020204" pitchFamily="34" charset="0"/>
        <a:buChar char="•"/>
        <a:defRPr sz="4026" kern="1200">
          <a:solidFill>
            <a:schemeClr val="tx1"/>
          </a:solidFill>
          <a:latin typeface="+mn-lt"/>
          <a:ea typeface="+mn-ea"/>
          <a:cs typeface="+mn-cs"/>
        </a:defRPr>
      </a:lvl1pPr>
      <a:lvl2pPr marL="986180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3451" kern="1200">
          <a:solidFill>
            <a:schemeClr val="tx1"/>
          </a:solidFill>
          <a:latin typeface="+mn-lt"/>
          <a:ea typeface="+mn-ea"/>
          <a:cs typeface="+mn-cs"/>
        </a:defRPr>
      </a:lvl2pPr>
      <a:lvl3pPr marL="1643634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3pPr>
      <a:lvl4pPr marL="230108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958541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615995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427344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930902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588356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1pPr>
      <a:lvl2pPr marL="65745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2pPr>
      <a:lvl3pPr marL="1314907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3pPr>
      <a:lvl4pPr marL="1972361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62981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287268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3944722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602175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259629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9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2.pn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hyperlink" Target="mailto:usuarios.foneca@zentria.com.co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Título 4"/>
          <p:cNvSpPr>
            <a:spLocks noGrp="1"/>
          </p:cNvSpPr>
          <p:nvPr>
            <p:ph type="title" idx="4294967295"/>
          </p:nvPr>
        </p:nvSpPr>
        <p:spPr>
          <a:xfrm>
            <a:off x="2760514" y="4298869"/>
            <a:ext cx="12973482" cy="1266987"/>
          </a:xfrm>
        </p:spPr>
        <p:txBody>
          <a:bodyPr>
            <a:normAutofit fontScale="90000"/>
          </a:bodyPr>
          <a:lstStyle/>
          <a:p>
            <a:r>
              <a:rPr lang="es-CO" altLang="es-CO" sz="6889" b="1" i="1" dirty="0">
                <a:solidFill>
                  <a:srgbClr val="660033"/>
                </a:solidFill>
              </a:rPr>
              <a:t>Patrimonio Autónomo Foneca </a:t>
            </a:r>
            <a:br>
              <a:rPr lang="es-CO" altLang="es-CO" sz="6889" b="1" i="1" dirty="0">
                <a:solidFill>
                  <a:srgbClr val="660033"/>
                </a:solidFill>
              </a:rPr>
            </a:br>
            <a:r>
              <a:rPr lang="es-CO" altLang="es-CO" sz="6889" b="1" i="1" dirty="0">
                <a:solidFill>
                  <a:srgbClr val="660033"/>
                </a:solidFill>
              </a:rPr>
              <a:t>Red de Prestadores de Salud </a:t>
            </a:r>
            <a:br>
              <a:rPr lang="es-CO" altLang="es-CO" sz="6889" b="1" i="1" dirty="0">
                <a:solidFill>
                  <a:srgbClr val="660033"/>
                </a:solidFill>
              </a:rPr>
            </a:br>
            <a:r>
              <a:rPr lang="es-CO" altLang="es-CO" sz="6889" b="1" i="1" dirty="0">
                <a:solidFill>
                  <a:srgbClr val="660033"/>
                </a:solidFill>
              </a:rPr>
              <a:t>Atlántico</a:t>
            </a:r>
            <a:br>
              <a:rPr lang="es-CO" altLang="es-CO" sz="6889" b="1" i="1" dirty="0">
                <a:solidFill>
                  <a:srgbClr val="660033"/>
                </a:solidFill>
              </a:rPr>
            </a:br>
            <a:r>
              <a:rPr lang="es-CO" altLang="es-CO" sz="6889" b="1" i="1" dirty="0">
                <a:solidFill>
                  <a:srgbClr val="660033"/>
                </a:solidFill>
              </a:rPr>
              <a:t>Enero 2024</a:t>
            </a:r>
            <a:endParaRPr lang="es-CO" altLang="es-CO" sz="4019" b="1" i="1" dirty="0">
              <a:solidFill>
                <a:srgbClr val="6600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352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3211033" y="453481"/>
            <a:ext cx="124613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</a:rPr>
              <a:t>Promesa</a:t>
            </a:r>
            <a:r>
              <a:rPr lang="es-CO" sz="4000" b="1" dirty="0">
                <a:solidFill>
                  <a:srgbClr val="FF5F3F"/>
                </a:solidFill>
              </a:rPr>
              <a:t> de </a:t>
            </a:r>
            <a:r>
              <a:rPr lang="es-CO" sz="4800" b="1" dirty="0">
                <a:solidFill>
                  <a:srgbClr val="A65C99"/>
                </a:solidFill>
                <a:latin typeface="DM Sans Medium" pitchFamily="2" charset="0"/>
              </a:rPr>
              <a:t>Servicio</a:t>
            </a:r>
            <a:endParaRPr lang="es-CO" sz="4000" b="1" dirty="0">
              <a:solidFill>
                <a:srgbClr val="FF5F3F"/>
              </a:solidFill>
            </a:endParaRPr>
          </a:p>
        </p:txBody>
      </p:sp>
      <p:pic>
        <p:nvPicPr>
          <p:cNvPr id="42" name="Imagen 41">
            <a:extLst>
              <a:ext uri="{FF2B5EF4-FFF2-40B4-BE49-F238E27FC236}">
                <a16:creationId xmlns:a16="http://schemas.microsoft.com/office/drawing/2014/main" id="{98777104-0E1F-3CCB-DF76-98549153029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3825796" y="4167759"/>
            <a:ext cx="2293161" cy="2293161"/>
          </a:xfrm>
          <a:prstGeom prst="rect">
            <a:avLst/>
          </a:prstGeom>
        </p:spPr>
      </p:pic>
      <p:sp>
        <p:nvSpPr>
          <p:cNvPr id="55" name="CuadroTexto 54">
            <a:extLst>
              <a:ext uri="{FF2B5EF4-FFF2-40B4-BE49-F238E27FC236}">
                <a16:creationId xmlns:a16="http://schemas.microsoft.com/office/drawing/2014/main" id="{BD6E99E7-6258-EF31-E60B-C7209E4D8778}"/>
              </a:ext>
            </a:extLst>
          </p:cNvPr>
          <p:cNvSpPr txBox="1"/>
          <p:nvPr/>
        </p:nvSpPr>
        <p:spPr>
          <a:xfrm>
            <a:off x="981327" y="1634595"/>
            <a:ext cx="10310600" cy="523221"/>
          </a:xfrm>
          <a:prstGeom prst="rect">
            <a:avLst/>
          </a:prstGeom>
        </p:spPr>
        <p:txBody>
          <a:bodyPr vert="horz"/>
          <a:lstStyle>
            <a:lvl1pPr algn="ctr" defTabSz="1314907">
              <a:lnSpc>
                <a:spcPct val="90000"/>
              </a:lnSpc>
              <a:spcBef>
                <a:spcPct val="0"/>
              </a:spcBef>
              <a:buNone/>
              <a:defRPr sz="2000">
                <a:latin typeface="DM Sans" pitchFamily="2" charset="0"/>
                <a:ea typeface="+mj-ea"/>
                <a:cs typeface="+mj-cs"/>
              </a:defRPr>
            </a:lvl1pPr>
          </a:lstStyle>
          <a:p>
            <a:pPr algn="just"/>
            <a:endParaRPr lang="es-CO" sz="3200" b="1" dirty="0">
              <a:solidFill>
                <a:srgbClr val="FF5F3F"/>
              </a:solidFill>
            </a:endParaRP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DAC30BBE-B1C7-3367-E832-498179B62E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9737108"/>
              </p:ext>
            </p:extLst>
          </p:nvPr>
        </p:nvGraphicFramePr>
        <p:xfrm>
          <a:off x="981327" y="1634595"/>
          <a:ext cx="12011659" cy="7270638"/>
        </p:xfrm>
        <a:graphic>
          <a:graphicData uri="http://schemas.openxmlformats.org/drawingml/2006/table">
            <a:tbl>
              <a:tblPr firstRow="1" bandRow="1" bandCol="1"/>
              <a:tblGrid>
                <a:gridCol w="932533">
                  <a:extLst>
                    <a:ext uri="{9D8B030D-6E8A-4147-A177-3AD203B41FA5}">
                      <a16:colId xmlns:a16="http://schemas.microsoft.com/office/drawing/2014/main" val="2543222093"/>
                    </a:ext>
                  </a:extLst>
                </a:gridCol>
                <a:gridCol w="6230680">
                  <a:extLst>
                    <a:ext uri="{9D8B030D-6E8A-4147-A177-3AD203B41FA5}">
                      <a16:colId xmlns:a16="http://schemas.microsoft.com/office/drawing/2014/main" val="1225794107"/>
                    </a:ext>
                  </a:extLst>
                </a:gridCol>
                <a:gridCol w="4848446">
                  <a:extLst>
                    <a:ext uri="{9D8B030D-6E8A-4147-A177-3AD203B41FA5}">
                      <a16:colId xmlns:a16="http://schemas.microsoft.com/office/drawing/2014/main" val="850741928"/>
                    </a:ext>
                  </a:extLst>
                </a:gridCol>
              </a:tblGrid>
              <a:tr h="447675">
                <a:tc>
                  <a:txBody>
                    <a:bodyPr/>
                    <a:lstStyle/>
                    <a:p>
                      <a:pPr algn="l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F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ESPECIALIDAD Atención Ambulator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F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PORTUNIDAD en Di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F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359741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Medicina Gener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570695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bstetric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523467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dontología Gener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027233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Pediatr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472534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Ginecolog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74616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Medicina Intern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703775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Nutri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234085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Psicolog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619789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Cirugia Gener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713021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Dermatolog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98308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Neurocirug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202081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Neurolog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631332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rtopedia y Traumatolog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989467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torrinolaringologia</a:t>
                      </a:r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 (</a:t>
                      </a:r>
                      <a:r>
                        <a:rPr lang="es-419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RL</a:t>
                      </a:r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922545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tras Especialidad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070792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Psiquiatr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93489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Urolog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88323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Subespecialidad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3865334"/>
                  </a:ext>
                </a:extLst>
              </a:tr>
              <a:tr h="442099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Programas especiales (HTA, DM, ERC, entre otras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de acuerdo con la clasificación del riesg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7236778"/>
                  </a:ext>
                </a:extLst>
              </a:tr>
              <a:tr h="361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Controles con terapi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1600" b="0" i="1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de acuerdo con el criterio del Profesion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0047091"/>
                  </a:ext>
                </a:extLst>
              </a:tr>
              <a:tr h="361507">
                <a:tc>
                  <a:txBody>
                    <a:bodyPr/>
                    <a:lstStyle/>
                    <a:p>
                      <a:pPr algn="ctr" rtl="0" fontAlgn="ctr"/>
                      <a:endParaRPr lang="es-419" sz="2000" b="1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Tratamiento de odontología Especializad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Según lo ordenado por el Odontólog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42862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29776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2722880" y="607258"/>
            <a:ext cx="124613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RED ATLÁNTICO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01C9D05-564B-2BDE-0773-766B1FC238BC}"/>
              </a:ext>
            </a:extLst>
          </p:cNvPr>
          <p:cNvSpPr txBox="1"/>
          <p:nvPr/>
        </p:nvSpPr>
        <p:spPr>
          <a:xfrm>
            <a:off x="963295" y="1463637"/>
            <a:ext cx="15605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BARRANQUILLA</a:t>
            </a:r>
            <a:endParaRPr lang="es-CO" sz="4800" b="1" dirty="0">
              <a:solidFill>
                <a:srgbClr val="FF5F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2323D317-6145-507C-D04E-D0F18ED6F8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1767700"/>
              </p:ext>
            </p:extLst>
          </p:nvPr>
        </p:nvGraphicFramePr>
        <p:xfrm>
          <a:off x="1302702" y="2279376"/>
          <a:ext cx="14926945" cy="6709685"/>
        </p:xfrm>
        <a:graphic>
          <a:graphicData uri="http://schemas.openxmlformats.org/drawingml/2006/table">
            <a:tbl>
              <a:tblPr/>
              <a:tblGrid>
                <a:gridCol w="3473464">
                  <a:extLst>
                    <a:ext uri="{9D8B030D-6E8A-4147-A177-3AD203B41FA5}">
                      <a16:colId xmlns:a16="http://schemas.microsoft.com/office/drawing/2014/main" val="984458663"/>
                    </a:ext>
                  </a:extLst>
                </a:gridCol>
                <a:gridCol w="3010134">
                  <a:extLst>
                    <a:ext uri="{9D8B030D-6E8A-4147-A177-3AD203B41FA5}">
                      <a16:colId xmlns:a16="http://schemas.microsoft.com/office/drawing/2014/main" val="791480138"/>
                    </a:ext>
                  </a:extLst>
                </a:gridCol>
                <a:gridCol w="2387987">
                  <a:extLst>
                    <a:ext uri="{9D8B030D-6E8A-4147-A177-3AD203B41FA5}">
                      <a16:colId xmlns:a16="http://schemas.microsoft.com/office/drawing/2014/main" val="385233575"/>
                    </a:ext>
                  </a:extLst>
                </a:gridCol>
                <a:gridCol w="6055360">
                  <a:extLst>
                    <a:ext uri="{9D8B030D-6E8A-4147-A177-3AD203B41FA5}">
                      <a16:colId xmlns:a16="http://schemas.microsoft.com/office/drawing/2014/main" val="859027790"/>
                    </a:ext>
                  </a:extLst>
                </a:gridCol>
              </a:tblGrid>
              <a:tr h="432056"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arios de aten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5199462"/>
                  </a:ext>
                </a:extLst>
              </a:tr>
              <a:tr h="432056"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ón Medica General Prioritaria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ón Prioritaria Murillo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</a:t>
                      </a:r>
                      <a:r>
                        <a:rPr lang="es-419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45 # 20-77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</a:t>
                      </a:r>
                      <a:r>
                        <a:rPr lang="pt-B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 </a:t>
                      </a:r>
                      <a:r>
                        <a:rPr lang="pt-BR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ernes</a:t>
                      </a:r>
                      <a:r>
                        <a:rPr lang="pt-B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7 </a:t>
                      </a:r>
                      <a:r>
                        <a:rPr lang="pt-BR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</a:t>
                      </a:r>
                      <a:r>
                        <a:rPr lang="pt-B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 9 </a:t>
                      </a:r>
                      <a:r>
                        <a:rPr lang="pt-BR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m</a:t>
                      </a:r>
                      <a:r>
                        <a:rPr lang="pt-B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- Sábados 7 </a:t>
                      </a:r>
                      <a:r>
                        <a:rPr lang="pt-BR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</a:t>
                      </a:r>
                      <a:r>
                        <a:rPr lang="pt-B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 7 </a:t>
                      </a:r>
                      <a:r>
                        <a:rPr lang="pt-BR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m</a:t>
                      </a:r>
                      <a:r>
                        <a:rPr lang="pt-B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omingos/Festivos  8 </a:t>
                      </a:r>
                      <a:r>
                        <a:rPr lang="pt-BR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</a:t>
                      </a:r>
                      <a:r>
                        <a:rPr lang="pt-B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 4 </a:t>
                      </a:r>
                      <a:r>
                        <a:rPr lang="pt-BR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m</a:t>
                      </a:r>
                      <a:r>
                        <a:rPr lang="pt-B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7164496"/>
                  </a:ext>
                </a:extLst>
              </a:tr>
              <a:tr h="219053"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on Medica General Prioritaria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ón Prioritaria Soledad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 30 # 29 - 36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 am a 1 pm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33294"/>
                  </a:ext>
                </a:extLst>
              </a:tr>
              <a:tr h="219053"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on Psicologia -Fonodaudiologia - Nutricion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MA Carrera 58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</a:t>
                      </a:r>
                      <a:r>
                        <a:rPr lang="es-419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58 # 72 - 105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am a 3 pm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3493765"/>
                  </a:ext>
                </a:extLst>
              </a:tr>
              <a:tr h="219053"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on Psicologia -Fonodaudiologia - Nutricion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MA Carrera 44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</a:t>
                      </a:r>
                      <a:r>
                        <a:rPr lang="es-419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45 # 43-39 Segundo Pis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am a 3 pm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0770929"/>
                  </a:ext>
                </a:extLst>
              </a:tr>
              <a:tr h="219053"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on Urgencia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rgencias Norte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 49C # 84 - 163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ón 24 horas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482351"/>
                  </a:ext>
                </a:extLst>
              </a:tr>
              <a:tr h="219053"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on Urgencia y Hospitalaria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ación Clinica General del Norte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. 70 # 48-35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ón 24 horas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1900934"/>
                  </a:ext>
                </a:extLst>
              </a:tr>
              <a:tr h="219053"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ón Urgencia y Hospitalaria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ganización Clinica General del Norte sede PRAD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. 59 # 50 - 10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ón 24 horas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9321200"/>
                  </a:ext>
                </a:extLst>
              </a:tr>
              <a:tr h="219053"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ulta medica Domiciliaria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MA PAD - Barranquilla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 49C # 84 - 163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8 am a 6 pm - Sábados 8 a </a:t>
                      </a:r>
                      <a:r>
                        <a:rPr lang="es-419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m</a:t>
                      </a:r>
                      <a:endParaRPr lang="es-419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82011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86736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2722880" y="607258"/>
            <a:ext cx="124613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RED ATLÁNTICO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01C9D05-564B-2BDE-0773-766B1FC238BC}"/>
              </a:ext>
            </a:extLst>
          </p:cNvPr>
          <p:cNvSpPr txBox="1"/>
          <p:nvPr/>
        </p:nvSpPr>
        <p:spPr>
          <a:xfrm>
            <a:off x="963295" y="1463637"/>
            <a:ext cx="15605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BARRANQUILLA</a:t>
            </a:r>
            <a:endParaRPr lang="es-CO" sz="4800" b="1" dirty="0">
              <a:solidFill>
                <a:srgbClr val="FF5F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2323D317-6145-507C-D04E-D0F18ED6F8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9255244"/>
              </p:ext>
            </p:extLst>
          </p:nvPr>
        </p:nvGraphicFramePr>
        <p:xfrm>
          <a:off x="1302702" y="2320016"/>
          <a:ext cx="14926945" cy="6709685"/>
        </p:xfrm>
        <a:graphic>
          <a:graphicData uri="http://schemas.openxmlformats.org/drawingml/2006/table">
            <a:tbl>
              <a:tblPr/>
              <a:tblGrid>
                <a:gridCol w="3473464">
                  <a:extLst>
                    <a:ext uri="{9D8B030D-6E8A-4147-A177-3AD203B41FA5}">
                      <a16:colId xmlns:a16="http://schemas.microsoft.com/office/drawing/2014/main" val="984458663"/>
                    </a:ext>
                  </a:extLst>
                </a:gridCol>
                <a:gridCol w="3010134">
                  <a:extLst>
                    <a:ext uri="{9D8B030D-6E8A-4147-A177-3AD203B41FA5}">
                      <a16:colId xmlns:a16="http://schemas.microsoft.com/office/drawing/2014/main" val="791480138"/>
                    </a:ext>
                  </a:extLst>
                </a:gridCol>
                <a:gridCol w="2387987">
                  <a:extLst>
                    <a:ext uri="{9D8B030D-6E8A-4147-A177-3AD203B41FA5}">
                      <a16:colId xmlns:a16="http://schemas.microsoft.com/office/drawing/2014/main" val="385233575"/>
                    </a:ext>
                  </a:extLst>
                </a:gridCol>
                <a:gridCol w="6055360">
                  <a:extLst>
                    <a:ext uri="{9D8B030D-6E8A-4147-A177-3AD203B41FA5}">
                      <a16:colId xmlns:a16="http://schemas.microsoft.com/office/drawing/2014/main" val="859027790"/>
                    </a:ext>
                  </a:extLst>
                </a:gridCol>
              </a:tblGrid>
              <a:tr h="432056"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arios de aten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5199462"/>
                  </a:ext>
                </a:extLst>
              </a:tr>
              <a:tr h="219053">
                <a:tc>
                  <a:txBody>
                    <a:bodyPr/>
                    <a:lstStyle/>
                    <a:p>
                      <a:pPr algn="l" fontAlgn="b"/>
                      <a:r>
                        <a:rPr lang="pt-BR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ulta Medica Especializada o Alternativa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os de Especialistas Barranquilla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 49C # 85 - 47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</a:t>
                      </a:r>
                      <a:r>
                        <a:rPr lang="es-419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am</a:t>
                      </a:r>
                      <a:r>
                        <a:rPr lang="es-419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 1 pm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2611156"/>
                  </a:ext>
                </a:extLst>
              </a:tr>
              <a:tr h="219053">
                <a:tc>
                  <a:txBody>
                    <a:bodyPr/>
                    <a:lstStyle/>
                    <a:p>
                      <a:pPr algn="l" fontAlgn="b"/>
                      <a:r>
                        <a:rPr lang="pt-BR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ulta Medica Especializada o Alternativa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MA Carrera 58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 58 # 72 - 105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 am a 3 pm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9137790"/>
                  </a:ext>
                </a:extLst>
              </a:tr>
              <a:tr h="325555">
                <a:tc>
                  <a:txBody>
                    <a:bodyPr/>
                    <a:lstStyle/>
                    <a:p>
                      <a:pPr algn="l" fontAlgn="b"/>
                      <a:r>
                        <a:rPr lang="pt-BR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ulta Medica Especializada o Alternativa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dad de Atencion Consulta Externa Clinica General del Norte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 48 # 70-139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4335107"/>
                  </a:ext>
                </a:extLst>
              </a:tr>
              <a:tr h="219053"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cion</a:t>
                      </a:r>
                      <a:r>
                        <a:rPr lang="es-419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de Medicamentos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rio General - Envio Domicilio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 49C # 84 - 128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 am a 3 pm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2308316"/>
                  </a:ext>
                </a:extLst>
              </a:tr>
              <a:tr h="219053"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cion de Medicamentos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rio General - Envio Domicilio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. 57 # 25-105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 am a 3 pm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4625857"/>
                  </a:ext>
                </a:extLst>
              </a:tr>
              <a:tr h="219053"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cion de Medicamentos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rio General - Envio Domicilio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 50 con Cll. 59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 am a 3 pm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6010964"/>
                  </a:ext>
                </a:extLst>
              </a:tr>
              <a:tr h="219053"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cina General y apoyo terapeutic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MA Carrera 58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 58 # 72 - 105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am a 3 pm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500221"/>
                  </a:ext>
                </a:extLst>
              </a:tr>
              <a:tr h="219053"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cina General y apoyo terapeutic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MA Carrera 44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. 45 # 43-39 Segundo Pis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</a:t>
                      </a:r>
                      <a:r>
                        <a:rPr lang="es-419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am</a:t>
                      </a:r>
                      <a:r>
                        <a:rPr lang="es-419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 3 pm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36932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95086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2722880" y="607258"/>
            <a:ext cx="124613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RED ATLÁNTICO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01C9D05-564B-2BDE-0773-766B1FC238BC}"/>
              </a:ext>
            </a:extLst>
          </p:cNvPr>
          <p:cNvSpPr txBox="1"/>
          <p:nvPr/>
        </p:nvSpPr>
        <p:spPr>
          <a:xfrm>
            <a:off x="963295" y="1463637"/>
            <a:ext cx="15605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BARRANQUILLA</a:t>
            </a:r>
            <a:endParaRPr lang="es-CO" sz="4800" b="1" dirty="0">
              <a:solidFill>
                <a:srgbClr val="FF5F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2323D317-6145-507C-D04E-D0F18ED6F8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6934526"/>
              </p:ext>
            </p:extLst>
          </p:nvPr>
        </p:nvGraphicFramePr>
        <p:xfrm>
          <a:off x="1302702" y="2320016"/>
          <a:ext cx="14926945" cy="5964285"/>
        </p:xfrm>
        <a:graphic>
          <a:graphicData uri="http://schemas.openxmlformats.org/drawingml/2006/table">
            <a:tbl>
              <a:tblPr/>
              <a:tblGrid>
                <a:gridCol w="2860224">
                  <a:extLst>
                    <a:ext uri="{9D8B030D-6E8A-4147-A177-3AD203B41FA5}">
                      <a16:colId xmlns:a16="http://schemas.microsoft.com/office/drawing/2014/main" val="984458663"/>
                    </a:ext>
                  </a:extLst>
                </a:gridCol>
                <a:gridCol w="4066674">
                  <a:extLst>
                    <a:ext uri="{9D8B030D-6E8A-4147-A177-3AD203B41FA5}">
                      <a16:colId xmlns:a16="http://schemas.microsoft.com/office/drawing/2014/main" val="791480138"/>
                    </a:ext>
                  </a:extLst>
                </a:gridCol>
                <a:gridCol w="2815389">
                  <a:extLst>
                    <a:ext uri="{9D8B030D-6E8A-4147-A177-3AD203B41FA5}">
                      <a16:colId xmlns:a16="http://schemas.microsoft.com/office/drawing/2014/main" val="385233575"/>
                    </a:ext>
                  </a:extLst>
                </a:gridCol>
                <a:gridCol w="5184658">
                  <a:extLst>
                    <a:ext uri="{9D8B030D-6E8A-4147-A177-3AD203B41FA5}">
                      <a16:colId xmlns:a16="http://schemas.microsoft.com/office/drawing/2014/main" val="859027790"/>
                    </a:ext>
                  </a:extLst>
                </a:gridCol>
              </a:tblGrid>
              <a:tr h="432056"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arios de aten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5199462"/>
                  </a:ext>
                </a:extLst>
              </a:tr>
              <a:tr h="219053"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ontologia General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MA Carrera 58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 58 # 72 - 105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</a:t>
                      </a:r>
                      <a:r>
                        <a:rPr lang="es-419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am</a:t>
                      </a:r>
                      <a:r>
                        <a:rPr lang="es-419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 3 pm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832986"/>
                  </a:ext>
                </a:extLst>
              </a:tr>
              <a:tr h="219053"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ontologia General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MA Carrera 44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. 45 # 43-39 Segundo Piso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am a 3 pm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7481151"/>
                  </a:ext>
                </a:extLst>
              </a:tr>
              <a:tr h="325555"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ontologia Urgencias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meca</a:t>
                      </a:r>
                      <a:r>
                        <a:rPr lang="es-419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- SERVICIOS ODONTOMEDICOS DEL CARIBE </a:t>
                      </a:r>
                      <a:r>
                        <a:rPr lang="es-419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TDA</a:t>
                      </a:r>
                      <a:endParaRPr lang="es-419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. 42G # 80-115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spués de 7pm hasta las 7am. Fines de Semana.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6687433"/>
                  </a:ext>
                </a:extLst>
              </a:tr>
              <a:tr h="219053"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ftalmologia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UNDACION OFTALMOLOGICA DEL CARIBE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 51B # 86 - 17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6234010"/>
                  </a:ext>
                </a:extLst>
              </a:tr>
              <a:tr h="432056"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tometría - Lentes y Monturas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IO OPTICO VIEW S.A.S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  43 # 36-15 Centro Comercial Tropical Centro Local 62 Piso 2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8 am a 6 pm - Sábados 8 a 12m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8510381"/>
                  </a:ext>
                </a:extLst>
              </a:tr>
              <a:tr h="219053"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tometría - Lentes y Monturas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IO OPTICO VIEW S.A.S 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 47 # 79 -65</a:t>
                      </a: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8 am a 6 pm - Sábados 8 a </a:t>
                      </a:r>
                      <a:r>
                        <a:rPr lang="es-419" sz="2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m</a:t>
                      </a:r>
                      <a:endParaRPr lang="es-419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40" marR="6940" marT="69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94988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39596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2722880" y="607258"/>
            <a:ext cx="124613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RED ATLÁNTICO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01C9D05-564B-2BDE-0773-766B1FC238BC}"/>
              </a:ext>
            </a:extLst>
          </p:cNvPr>
          <p:cNvSpPr txBox="1"/>
          <p:nvPr/>
        </p:nvSpPr>
        <p:spPr>
          <a:xfrm>
            <a:off x="975360" y="1822072"/>
            <a:ext cx="15605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BARANOA</a:t>
            </a:r>
            <a:endParaRPr lang="es-CO" sz="4800" b="1" dirty="0">
              <a:solidFill>
                <a:srgbClr val="FF5F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062DA204-8DD7-1B92-A666-7D818F4F34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1118946"/>
              </p:ext>
            </p:extLst>
          </p:nvPr>
        </p:nvGraphicFramePr>
        <p:xfrm>
          <a:off x="1432560" y="3036886"/>
          <a:ext cx="14691360" cy="4841171"/>
        </p:xfrm>
        <a:graphic>
          <a:graphicData uri="http://schemas.openxmlformats.org/drawingml/2006/table">
            <a:tbl>
              <a:tblPr/>
              <a:tblGrid>
                <a:gridCol w="3434080">
                  <a:extLst>
                    <a:ext uri="{9D8B030D-6E8A-4147-A177-3AD203B41FA5}">
                      <a16:colId xmlns:a16="http://schemas.microsoft.com/office/drawing/2014/main" val="810253439"/>
                    </a:ext>
                  </a:extLst>
                </a:gridCol>
                <a:gridCol w="2763520">
                  <a:extLst>
                    <a:ext uri="{9D8B030D-6E8A-4147-A177-3AD203B41FA5}">
                      <a16:colId xmlns:a16="http://schemas.microsoft.com/office/drawing/2014/main" val="141722093"/>
                    </a:ext>
                  </a:extLst>
                </a:gridCol>
                <a:gridCol w="3413760">
                  <a:extLst>
                    <a:ext uri="{9D8B030D-6E8A-4147-A177-3AD203B41FA5}">
                      <a16:colId xmlns:a16="http://schemas.microsoft.com/office/drawing/2014/main" val="2481830885"/>
                    </a:ext>
                  </a:extLst>
                </a:gridCol>
                <a:gridCol w="5080000">
                  <a:extLst>
                    <a:ext uri="{9D8B030D-6E8A-4147-A177-3AD203B41FA5}">
                      <a16:colId xmlns:a16="http://schemas.microsoft.com/office/drawing/2014/main" val="3777999236"/>
                    </a:ext>
                  </a:extLst>
                </a:gridCol>
              </a:tblGrid>
              <a:tr h="801331"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arios de aten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8858008"/>
                  </a:ext>
                </a:extLst>
              </a:tr>
              <a:tr h="532191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on Urgencia y Hospitalari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inica Santa Ana - Barano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ll</a:t>
                      </a:r>
                      <a:r>
                        <a:rPr lang="es-419" sz="2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. 18 # 20-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ón 24 hora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3403443"/>
                  </a:ext>
                </a:extLst>
              </a:tr>
              <a:tr h="532191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cion de Medicament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ÉTIC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alle 19 # 19-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Lunes a Viernes 7 am a 7 Pm - Sábados 7 am a 1 p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6669301"/>
                  </a:ext>
                </a:extLst>
              </a:tr>
              <a:tr h="963265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cina General y apoyo terapeutic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EMEG</a:t>
                      </a:r>
                      <a:r>
                        <a:rPr lang="es-419" sz="2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IP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ll</a:t>
                      </a:r>
                      <a:r>
                        <a:rPr lang="en-US" sz="2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. 16 # 17 - 18 Local 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Lunes a Viernes 7 am a 7 Pm - Sábados 7 am a 1 p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0641238"/>
                  </a:ext>
                </a:extLst>
              </a:tr>
              <a:tr h="526531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ontologia General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MEG IP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31490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ll</a:t>
                      </a:r>
                      <a:r>
                        <a:rPr lang="en-US" sz="2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. 16 # 17 - 18 Local 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Lunes a Viernes 7 am a 7 Pm - Sábados 7 am a 1 p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4431600"/>
                  </a:ext>
                </a:extLst>
              </a:tr>
              <a:tr h="487680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ma de Laboratorio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MEG IP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31490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ll</a:t>
                      </a:r>
                      <a:r>
                        <a:rPr lang="en-US" sz="2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. 16 # 17 - 18 Local 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Sábado 7 am a 10 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76505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94163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2722880" y="607258"/>
            <a:ext cx="124613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RED ATLÁNTICO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01C9D05-564B-2BDE-0773-766B1FC238BC}"/>
              </a:ext>
            </a:extLst>
          </p:cNvPr>
          <p:cNvSpPr txBox="1"/>
          <p:nvPr/>
        </p:nvSpPr>
        <p:spPr>
          <a:xfrm>
            <a:off x="975360" y="1822072"/>
            <a:ext cx="15605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SABANALARGA</a:t>
            </a:r>
            <a:endParaRPr lang="es-CO" sz="4800" b="1" dirty="0">
              <a:solidFill>
                <a:srgbClr val="FF5F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BCB7460B-A56E-CEE6-5D63-4BB882CFB4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1121960"/>
              </p:ext>
            </p:extLst>
          </p:nvPr>
        </p:nvGraphicFramePr>
        <p:xfrm>
          <a:off x="1419726" y="3036886"/>
          <a:ext cx="14365706" cy="4751070"/>
        </p:xfrm>
        <a:graphic>
          <a:graphicData uri="http://schemas.openxmlformats.org/drawingml/2006/table">
            <a:tbl>
              <a:tblPr/>
              <a:tblGrid>
                <a:gridCol w="2983832">
                  <a:extLst>
                    <a:ext uri="{9D8B030D-6E8A-4147-A177-3AD203B41FA5}">
                      <a16:colId xmlns:a16="http://schemas.microsoft.com/office/drawing/2014/main" val="580454630"/>
                    </a:ext>
                  </a:extLst>
                </a:gridCol>
                <a:gridCol w="4283242">
                  <a:extLst>
                    <a:ext uri="{9D8B030D-6E8A-4147-A177-3AD203B41FA5}">
                      <a16:colId xmlns:a16="http://schemas.microsoft.com/office/drawing/2014/main" val="1012441707"/>
                    </a:ext>
                  </a:extLst>
                </a:gridCol>
                <a:gridCol w="2622884">
                  <a:extLst>
                    <a:ext uri="{9D8B030D-6E8A-4147-A177-3AD203B41FA5}">
                      <a16:colId xmlns:a16="http://schemas.microsoft.com/office/drawing/2014/main" val="948324103"/>
                    </a:ext>
                  </a:extLst>
                </a:gridCol>
                <a:gridCol w="4475748">
                  <a:extLst>
                    <a:ext uri="{9D8B030D-6E8A-4147-A177-3AD203B41FA5}">
                      <a16:colId xmlns:a16="http://schemas.microsoft.com/office/drawing/2014/main" val="3544814409"/>
                    </a:ext>
                  </a:extLst>
                </a:gridCol>
              </a:tblGrid>
              <a:tr h="291583"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arios de aten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1773763"/>
                  </a:ext>
                </a:extLst>
              </a:tr>
              <a:tr h="313530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on Urgencia y Hospitalari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inica San Rafael Ltd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2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ll</a:t>
                      </a:r>
                      <a:r>
                        <a:rPr lang="es-419" sz="2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. 20 # 16 - 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ón 24 hora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033629"/>
                  </a:ext>
                </a:extLst>
              </a:tr>
              <a:tr h="567489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cion de Medicament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ispensario General - Envío Domicil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ll</a:t>
                      </a:r>
                      <a:r>
                        <a:rPr lang="es-419" sz="2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. 18 # 17-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 am a 3 p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2391708"/>
                  </a:ext>
                </a:extLst>
              </a:tr>
              <a:tr h="567489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cina General y apoyo terapeutic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GN - Unidad de Atencion Ambulatoria Sabanalarg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419" sz="2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ra</a:t>
                      </a:r>
                      <a:r>
                        <a:rPr lang="es-419" sz="2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. 23 # 34 - 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7835619"/>
                  </a:ext>
                </a:extLst>
              </a:tr>
              <a:tr h="567489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ontologia General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GN - Unidad de Atencion Ambulatoria Sabanalarg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1490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419" sz="2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ra</a:t>
                      </a:r>
                      <a:r>
                        <a:rPr lang="es-419" sz="2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. 23 # 34 - 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8026803"/>
                  </a:ext>
                </a:extLst>
              </a:tr>
              <a:tr h="567489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ma de Laboratorio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GN - Unidad de Atencion Ambulatoria Sabanalarg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31490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419" sz="2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ra</a:t>
                      </a:r>
                      <a:r>
                        <a:rPr lang="es-419" sz="2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. 23 # 34 - 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Sábado 7 am a 10 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10757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12691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2722880" y="607258"/>
            <a:ext cx="124613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RED ATLÁNTICO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01C9D05-564B-2BDE-0773-766B1FC238BC}"/>
              </a:ext>
            </a:extLst>
          </p:cNvPr>
          <p:cNvSpPr txBox="1"/>
          <p:nvPr/>
        </p:nvSpPr>
        <p:spPr>
          <a:xfrm>
            <a:off x="975360" y="1822072"/>
            <a:ext cx="15605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SANTO TOMÁS</a:t>
            </a:r>
            <a:endParaRPr lang="es-CO" sz="4800" b="1" dirty="0">
              <a:solidFill>
                <a:srgbClr val="FF5F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9" name="Tabla 8">
            <a:extLst>
              <a:ext uri="{FF2B5EF4-FFF2-40B4-BE49-F238E27FC236}">
                <a16:creationId xmlns:a16="http://schemas.microsoft.com/office/drawing/2014/main" id="{B0D6CDAB-FD3F-658B-0CFD-F15A614761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7865213"/>
              </p:ext>
            </p:extLst>
          </p:nvPr>
        </p:nvGraphicFramePr>
        <p:xfrm>
          <a:off x="1277969" y="2653069"/>
          <a:ext cx="14952279" cy="1299210"/>
        </p:xfrm>
        <a:graphic>
          <a:graphicData uri="http://schemas.openxmlformats.org/drawingml/2006/table">
            <a:tbl>
              <a:tblPr/>
              <a:tblGrid>
                <a:gridCol w="2798846">
                  <a:extLst>
                    <a:ext uri="{9D8B030D-6E8A-4147-A177-3AD203B41FA5}">
                      <a16:colId xmlns:a16="http://schemas.microsoft.com/office/drawing/2014/main" val="947079681"/>
                    </a:ext>
                  </a:extLst>
                </a:gridCol>
                <a:gridCol w="3416968">
                  <a:extLst>
                    <a:ext uri="{9D8B030D-6E8A-4147-A177-3AD203B41FA5}">
                      <a16:colId xmlns:a16="http://schemas.microsoft.com/office/drawing/2014/main" val="310939279"/>
                    </a:ext>
                  </a:extLst>
                </a:gridCol>
                <a:gridCol w="3128211">
                  <a:extLst>
                    <a:ext uri="{9D8B030D-6E8A-4147-A177-3AD203B41FA5}">
                      <a16:colId xmlns:a16="http://schemas.microsoft.com/office/drawing/2014/main" val="210090676"/>
                    </a:ext>
                  </a:extLst>
                </a:gridCol>
                <a:gridCol w="5608254">
                  <a:extLst>
                    <a:ext uri="{9D8B030D-6E8A-4147-A177-3AD203B41FA5}">
                      <a16:colId xmlns:a16="http://schemas.microsoft.com/office/drawing/2014/main" val="179483883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arios de aten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540246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cion de Medicament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ispensario General - Envío Domicil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Cll</a:t>
                      </a:r>
                      <a:r>
                        <a:rPr lang="es-419" sz="2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. 6 # 11-2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</a:t>
                      </a:r>
                      <a:r>
                        <a:rPr lang="es-419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am</a:t>
                      </a:r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 3 p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284363"/>
                  </a:ext>
                </a:extLst>
              </a:tr>
            </a:tbl>
          </a:graphicData>
        </a:graphic>
      </p:graphicFrame>
      <p:sp>
        <p:nvSpPr>
          <p:cNvPr id="10" name="CuadroTexto 9">
            <a:extLst>
              <a:ext uri="{FF2B5EF4-FFF2-40B4-BE49-F238E27FC236}">
                <a16:creationId xmlns:a16="http://schemas.microsoft.com/office/drawing/2014/main" id="{F1970475-0E89-CC66-D251-BCD47A2462B4}"/>
              </a:ext>
            </a:extLst>
          </p:cNvPr>
          <p:cNvSpPr txBox="1"/>
          <p:nvPr/>
        </p:nvSpPr>
        <p:spPr>
          <a:xfrm>
            <a:off x="951231" y="4783276"/>
            <a:ext cx="15605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SOLEDAD</a:t>
            </a:r>
            <a:endParaRPr lang="es-CO" sz="4800" b="1" dirty="0">
              <a:solidFill>
                <a:srgbClr val="FF5F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2" name="Tabla 11">
            <a:extLst>
              <a:ext uri="{FF2B5EF4-FFF2-40B4-BE49-F238E27FC236}">
                <a16:creationId xmlns:a16="http://schemas.microsoft.com/office/drawing/2014/main" id="{FDD30BDE-707C-FB6F-4E36-5E9A32F020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940964"/>
              </p:ext>
            </p:extLst>
          </p:nvPr>
        </p:nvGraphicFramePr>
        <p:xfrm>
          <a:off x="1277969" y="5682806"/>
          <a:ext cx="14952279" cy="3025140"/>
        </p:xfrm>
        <a:graphic>
          <a:graphicData uri="http://schemas.openxmlformats.org/drawingml/2006/table">
            <a:tbl>
              <a:tblPr/>
              <a:tblGrid>
                <a:gridCol w="4280619">
                  <a:extLst>
                    <a:ext uri="{9D8B030D-6E8A-4147-A177-3AD203B41FA5}">
                      <a16:colId xmlns:a16="http://schemas.microsoft.com/office/drawing/2014/main" val="18346179"/>
                    </a:ext>
                  </a:extLst>
                </a:gridCol>
                <a:gridCol w="1515979">
                  <a:extLst>
                    <a:ext uri="{9D8B030D-6E8A-4147-A177-3AD203B41FA5}">
                      <a16:colId xmlns:a16="http://schemas.microsoft.com/office/drawing/2014/main" val="4023934715"/>
                    </a:ext>
                  </a:extLst>
                </a:gridCol>
                <a:gridCol w="4706234">
                  <a:extLst>
                    <a:ext uri="{9D8B030D-6E8A-4147-A177-3AD203B41FA5}">
                      <a16:colId xmlns:a16="http://schemas.microsoft.com/office/drawing/2014/main" val="3661595368"/>
                    </a:ext>
                  </a:extLst>
                </a:gridCol>
                <a:gridCol w="4449447">
                  <a:extLst>
                    <a:ext uri="{9D8B030D-6E8A-4147-A177-3AD203B41FA5}">
                      <a16:colId xmlns:a16="http://schemas.microsoft.com/office/drawing/2014/main" val="216179459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arios de aten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22128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on Psicologia -Fonodaudiologia - Nutric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MA Soleda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</a:t>
                      </a:r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32 # 30-15 Local 297 A </a:t>
                      </a:r>
                    </a:p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. Comercial Gran Plaza del So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970874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cina General y apoyo terapéutic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MA Soleda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</a:t>
                      </a:r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32 # 30-15 Local 297 A </a:t>
                      </a:r>
                    </a:p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. Comercial Gran Plaza del So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am a 3 p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72166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ontologia General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MA Soleda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</a:t>
                      </a:r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32 # 30-15 Local 297 A </a:t>
                      </a:r>
                    </a:p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. Comercial Gran Plaza del So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</a:t>
                      </a:r>
                      <a:r>
                        <a:rPr lang="es-419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am</a:t>
                      </a:r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a 3 p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96133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781858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C94C3B9A-3C85-4BC9-9891-F0D607AB3F3F}"/>
              </a:ext>
            </a:extLst>
          </p:cNvPr>
          <p:cNvSpPr txBox="1">
            <a:spLocks/>
          </p:cNvSpPr>
          <p:nvPr/>
        </p:nvSpPr>
        <p:spPr>
          <a:xfrm>
            <a:off x="9467469" y="7703099"/>
            <a:ext cx="7507602" cy="1440744"/>
          </a:xfrm>
          <a:prstGeom prst="rect">
            <a:avLst/>
          </a:prstGeom>
        </p:spPr>
        <p:txBody>
          <a:bodyPr anchor="b"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131490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s-ES" sz="2876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es-ES" sz="2876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Vicepresidencia de Negocios Fiduciarios</a:t>
            </a:r>
          </a:p>
          <a:p>
            <a:pPr marL="0" marR="0" lvl="0" indent="0" algn="r" defTabSz="131490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76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Gerencia de Negocios </a:t>
            </a:r>
          </a:p>
          <a:p>
            <a:pPr marL="0" marR="0" lvl="0" indent="0" algn="r" defTabSz="131490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76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Diciembre 20 de 2023</a:t>
            </a:r>
            <a:endParaRPr kumimoji="0" lang="es-CO" sz="2876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C94C3B9A-3C85-4BC9-9891-F0D607AB3F3F}"/>
              </a:ext>
            </a:extLst>
          </p:cNvPr>
          <p:cNvSpPr txBox="1">
            <a:spLocks/>
          </p:cNvSpPr>
          <p:nvPr/>
        </p:nvSpPr>
        <p:spPr>
          <a:xfrm>
            <a:off x="9467469" y="6814546"/>
            <a:ext cx="7507602" cy="623710"/>
          </a:xfrm>
          <a:prstGeom prst="rect">
            <a:avLst/>
          </a:prstGeom>
        </p:spPr>
        <p:txBody>
          <a:bodyPr anchor="b"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131490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s-ES" sz="2876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es-ES" sz="2876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Rosibel Mendoza Camarillo </a:t>
            </a:r>
            <a:endParaRPr kumimoji="0" lang="es-CO" sz="2876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7762788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D93857-9555-8564-3ED0-7A2E5DEC0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¿Quiénes Somos?</a:t>
            </a:r>
          </a:p>
        </p:txBody>
      </p:sp>
      <p:graphicFrame>
        <p:nvGraphicFramePr>
          <p:cNvPr id="5" name="Diagrama 4">
            <a:extLst>
              <a:ext uri="{FF2B5EF4-FFF2-40B4-BE49-F238E27FC236}">
                <a16:creationId xmlns:a16="http://schemas.microsoft.com/office/drawing/2014/main" id="{331A9D5E-2FCB-7687-DAB8-F3E4076BA6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8048671"/>
              </p:ext>
            </p:extLst>
          </p:nvPr>
        </p:nvGraphicFramePr>
        <p:xfrm>
          <a:off x="6376377" y="2104268"/>
          <a:ext cx="10419869" cy="64800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3" name="Grupo 2">
            <a:extLst>
              <a:ext uri="{FF2B5EF4-FFF2-40B4-BE49-F238E27FC236}">
                <a16:creationId xmlns:a16="http://schemas.microsoft.com/office/drawing/2014/main" id="{19FE1816-2B88-A2D0-BA94-CB4270258CCA}"/>
              </a:ext>
            </a:extLst>
          </p:cNvPr>
          <p:cNvGrpSpPr/>
          <p:nvPr/>
        </p:nvGrpSpPr>
        <p:grpSpPr>
          <a:xfrm>
            <a:off x="1205350" y="2469000"/>
            <a:ext cx="6013597" cy="6115363"/>
            <a:chOff x="1011677" y="1769491"/>
            <a:chExt cx="4926723" cy="4926723"/>
          </a:xfrm>
        </p:grpSpPr>
        <p:pic>
          <p:nvPicPr>
            <p:cNvPr id="20" name="Imagen 19" descr="Imagen que contiene Logotipo&#10;&#10;Descripción generada automáticamente">
              <a:extLst>
                <a:ext uri="{FF2B5EF4-FFF2-40B4-BE49-F238E27FC236}">
                  <a16:creationId xmlns:a16="http://schemas.microsoft.com/office/drawing/2014/main" id="{FEADC605-63D6-1429-F322-D2FCCA7565A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1677" y="1769491"/>
              <a:ext cx="4926723" cy="492672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ACC71B2D-145A-E567-BC10-A23EDDE91E14}"/>
                </a:ext>
              </a:extLst>
            </p:cNvPr>
            <p:cNvSpPr txBox="1"/>
            <p:nvPr/>
          </p:nvSpPr>
          <p:spPr>
            <a:xfrm>
              <a:off x="3202103" y="5671544"/>
              <a:ext cx="2607128" cy="8926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O" sz="6600" b="1" dirty="0" err="1">
                  <a:solidFill>
                    <a:srgbClr val="D7D7D7"/>
                  </a:solidFill>
                </a:rPr>
                <a:t>Foneca</a:t>
              </a:r>
              <a:endParaRPr lang="es-CO" sz="6600" b="1" dirty="0">
                <a:solidFill>
                  <a:srgbClr val="D7D7D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83632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D93857-9555-8564-3ED0-7A2E5DEC0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¿Quiénes Somos?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DE54E582-17BB-18DD-A9B5-69A191FE3B35}"/>
              </a:ext>
            </a:extLst>
          </p:cNvPr>
          <p:cNvGrpSpPr/>
          <p:nvPr/>
        </p:nvGrpSpPr>
        <p:grpSpPr>
          <a:xfrm>
            <a:off x="817363" y="2296973"/>
            <a:ext cx="2749188" cy="2635389"/>
            <a:chOff x="7025715" y="3091473"/>
            <a:chExt cx="2749188" cy="2635389"/>
          </a:xfrm>
        </p:grpSpPr>
        <p:pic>
          <p:nvPicPr>
            <p:cNvPr id="6" name="Imagen 5" descr="Imagen que contiene nombre de la empresa&#10;&#10;Descripción generada automáticamente">
              <a:extLst>
                <a:ext uri="{FF2B5EF4-FFF2-40B4-BE49-F238E27FC236}">
                  <a16:creationId xmlns:a16="http://schemas.microsoft.com/office/drawing/2014/main" id="{3A5D065B-04FD-58C4-9705-420B06B659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75951" y="3804801"/>
              <a:ext cx="2048715" cy="1127561"/>
            </a:xfrm>
            <a:prstGeom prst="rect">
              <a:avLst/>
            </a:prstGeom>
          </p:spPr>
        </p:pic>
        <p:sp>
          <p:nvSpPr>
            <p:cNvPr id="4" name="Google Shape;695;p39">
              <a:extLst>
                <a:ext uri="{FF2B5EF4-FFF2-40B4-BE49-F238E27FC236}">
                  <a16:creationId xmlns:a16="http://schemas.microsoft.com/office/drawing/2014/main" id="{A372A17D-E3B9-8181-9C32-ECF7D61DBB73}"/>
                </a:ext>
              </a:extLst>
            </p:cNvPr>
            <p:cNvSpPr/>
            <p:nvPr/>
          </p:nvSpPr>
          <p:spPr>
            <a:xfrm>
              <a:off x="7025715" y="3091473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20" name="Imagen 19">
            <a:extLst>
              <a:ext uri="{FF2B5EF4-FFF2-40B4-BE49-F238E27FC236}">
                <a16:creationId xmlns:a16="http://schemas.microsoft.com/office/drawing/2014/main" id="{084EB019-6379-61D9-41C8-14A881B69B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1269" y="5465618"/>
            <a:ext cx="6450299" cy="3008274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E065A915-0A21-6B07-F754-241951763F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8424" y="2227133"/>
            <a:ext cx="8353442" cy="3243355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9840E300-6B2B-AC84-BF9C-AFEC79F221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45145" y="5847828"/>
            <a:ext cx="1917758" cy="1554726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0E674B88-F849-1D7F-E259-22B3472EE2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34967" y="7637592"/>
            <a:ext cx="2338114" cy="1273065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BC2B0A9B-00B5-CBF4-0384-1409CC914A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86062" y="5811584"/>
            <a:ext cx="1807201" cy="1510366"/>
          </a:xfrm>
          <a:prstGeom prst="rect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9A659A61-7FF5-9FA6-E718-759F7965F4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30784" y="7487271"/>
            <a:ext cx="1917758" cy="1273065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id="{80A771F9-B7D0-C701-21D5-592388DD0CB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221866" y="3064954"/>
            <a:ext cx="5268060" cy="457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1030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D93857-9555-8564-3ED0-7A2E5DEC0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¿Quiénes Somos?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4FD25BB-42FE-6198-0CAA-09EC0DF9B95A}"/>
              </a:ext>
            </a:extLst>
          </p:cNvPr>
          <p:cNvSpPr txBox="1"/>
          <p:nvPr/>
        </p:nvSpPr>
        <p:spPr>
          <a:xfrm>
            <a:off x="2696683" y="4390849"/>
            <a:ext cx="607249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O" sz="36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NION TEMPORAL CARIBE </a:t>
            </a:r>
          </a:p>
          <a:p>
            <a:pPr algn="ctr"/>
            <a:r>
              <a:rPr lang="es-CO" sz="36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égimen Especial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DE54E582-17BB-18DD-A9B5-69A191FE3B35}"/>
              </a:ext>
            </a:extLst>
          </p:cNvPr>
          <p:cNvGrpSpPr/>
          <p:nvPr/>
        </p:nvGrpSpPr>
        <p:grpSpPr>
          <a:xfrm>
            <a:off x="4386422" y="1639865"/>
            <a:ext cx="2749188" cy="2635389"/>
            <a:chOff x="7025715" y="3091473"/>
            <a:chExt cx="2749188" cy="2635389"/>
          </a:xfrm>
        </p:grpSpPr>
        <p:pic>
          <p:nvPicPr>
            <p:cNvPr id="6" name="Imagen 5" descr="Imagen que contiene nombre de la empresa&#10;&#10;Descripción generada automáticamente">
              <a:extLst>
                <a:ext uri="{FF2B5EF4-FFF2-40B4-BE49-F238E27FC236}">
                  <a16:creationId xmlns:a16="http://schemas.microsoft.com/office/drawing/2014/main" id="{3A5D065B-04FD-58C4-9705-420B06B659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07148" y="3819427"/>
              <a:ext cx="1586321" cy="1127561"/>
            </a:xfrm>
            <a:prstGeom prst="rect">
              <a:avLst/>
            </a:prstGeom>
          </p:spPr>
        </p:pic>
        <p:sp>
          <p:nvSpPr>
            <p:cNvPr id="4" name="Google Shape;695;p39">
              <a:extLst>
                <a:ext uri="{FF2B5EF4-FFF2-40B4-BE49-F238E27FC236}">
                  <a16:creationId xmlns:a16="http://schemas.microsoft.com/office/drawing/2014/main" id="{A372A17D-E3B9-8181-9C32-ECF7D61DBB73}"/>
                </a:ext>
              </a:extLst>
            </p:cNvPr>
            <p:cNvSpPr/>
            <p:nvPr/>
          </p:nvSpPr>
          <p:spPr>
            <a:xfrm>
              <a:off x="7025715" y="3091473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" name="Grupo 9">
            <a:extLst>
              <a:ext uri="{FF2B5EF4-FFF2-40B4-BE49-F238E27FC236}">
                <a16:creationId xmlns:a16="http://schemas.microsoft.com/office/drawing/2014/main" id="{A134FB6B-1612-57E6-06A9-FB80F71D6CA5}"/>
              </a:ext>
            </a:extLst>
          </p:cNvPr>
          <p:cNvGrpSpPr/>
          <p:nvPr/>
        </p:nvGrpSpPr>
        <p:grpSpPr>
          <a:xfrm>
            <a:off x="1423301" y="5837420"/>
            <a:ext cx="2749188" cy="2635389"/>
            <a:chOff x="4446818" y="3510269"/>
            <a:chExt cx="2749188" cy="2635389"/>
          </a:xfrm>
        </p:grpSpPr>
        <p:pic>
          <p:nvPicPr>
            <p:cNvPr id="9" name="Imagen 8" descr="Logotipo, nombre de la empresa&#10;&#10;Descripción generada automáticamente">
              <a:extLst>
                <a:ext uri="{FF2B5EF4-FFF2-40B4-BE49-F238E27FC236}">
                  <a16:creationId xmlns:a16="http://schemas.microsoft.com/office/drawing/2014/main" id="{021C4932-CCE5-543D-4B8F-0D8D1B1036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383"/>
            <a:stretch/>
          </p:blipFill>
          <p:spPr>
            <a:xfrm>
              <a:off x="4717472" y="4267344"/>
              <a:ext cx="2336241" cy="1026159"/>
            </a:xfrm>
            <a:prstGeom prst="rect">
              <a:avLst/>
            </a:prstGeom>
          </p:spPr>
        </p:pic>
        <p:sp>
          <p:nvSpPr>
            <p:cNvPr id="7" name="Google Shape;695;p39">
              <a:extLst>
                <a:ext uri="{FF2B5EF4-FFF2-40B4-BE49-F238E27FC236}">
                  <a16:creationId xmlns:a16="http://schemas.microsoft.com/office/drawing/2014/main" id="{C7830EB9-236E-3DDA-9114-5BA272F0E9B4}"/>
                </a:ext>
              </a:extLst>
            </p:cNvPr>
            <p:cNvSpPr/>
            <p:nvPr/>
          </p:nvSpPr>
          <p:spPr>
            <a:xfrm>
              <a:off x="4446818" y="3510269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00B0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" name="Grupo 13">
            <a:extLst>
              <a:ext uri="{FF2B5EF4-FFF2-40B4-BE49-F238E27FC236}">
                <a16:creationId xmlns:a16="http://schemas.microsoft.com/office/drawing/2014/main" id="{1EBF279A-BB43-9965-9AD6-A5F1B0C0D8E9}"/>
              </a:ext>
            </a:extLst>
          </p:cNvPr>
          <p:cNvGrpSpPr/>
          <p:nvPr/>
        </p:nvGrpSpPr>
        <p:grpSpPr>
          <a:xfrm>
            <a:off x="4386422" y="5880119"/>
            <a:ext cx="2749188" cy="2635389"/>
            <a:chOff x="6481948" y="5455556"/>
            <a:chExt cx="2749188" cy="2635389"/>
          </a:xfrm>
        </p:grpSpPr>
        <p:pic>
          <p:nvPicPr>
            <p:cNvPr id="12" name="Imagen 11">
              <a:extLst>
                <a:ext uri="{FF2B5EF4-FFF2-40B4-BE49-F238E27FC236}">
                  <a16:creationId xmlns:a16="http://schemas.microsoft.com/office/drawing/2014/main" id="{E77D2DFD-78C2-0446-355F-8CBCE98ECE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729096" y="6212631"/>
              <a:ext cx="2254892" cy="1311519"/>
            </a:xfrm>
            <a:prstGeom prst="rect">
              <a:avLst/>
            </a:prstGeom>
          </p:spPr>
        </p:pic>
        <p:sp>
          <p:nvSpPr>
            <p:cNvPr id="13" name="Google Shape;696;p39">
              <a:extLst>
                <a:ext uri="{FF2B5EF4-FFF2-40B4-BE49-F238E27FC236}">
                  <a16:creationId xmlns:a16="http://schemas.microsoft.com/office/drawing/2014/main" id="{E20EE019-E9F3-9EB1-EF99-85C6C84F2843}"/>
                </a:ext>
              </a:extLst>
            </p:cNvPr>
            <p:cNvSpPr/>
            <p:nvPr/>
          </p:nvSpPr>
          <p:spPr>
            <a:xfrm>
              <a:off x="6481948" y="5455556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A65C9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5" name="Imagen 14">
            <a:extLst>
              <a:ext uri="{FF2B5EF4-FFF2-40B4-BE49-F238E27FC236}">
                <a16:creationId xmlns:a16="http://schemas.microsoft.com/office/drawing/2014/main" id="{921A913F-85DB-0709-987D-9A9F6CE45A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00280" y="6550108"/>
            <a:ext cx="1793970" cy="1200329"/>
          </a:xfrm>
          <a:prstGeom prst="rect">
            <a:avLst/>
          </a:prstGeom>
        </p:spPr>
      </p:pic>
      <p:sp>
        <p:nvSpPr>
          <p:cNvPr id="16" name="Google Shape;695;p39">
            <a:extLst>
              <a:ext uri="{FF2B5EF4-FFF2-40B4-BE49-F238E27FC236}">
                <a16:creationId xmlns:a16="http://schemas.microsoft.com/office/drawing/2014/main" id="{C0C2FDF2-296B-FD37-E518-564E00E6A3AB}"/>
              </a:ext>
            </a:extLst>
          </p:cNvPr>
          <p:cNvSpPr/>
          <p:nvPr/>
        </p:nvSpPr>
        <p:spPr>
          <a:xfrm>
            <a:off x="7382758" y="5832577"/>
            <a:ext cx="2749188" cy="2635389"/>
          </a:xfrm>
          <a:prstGeom prst="donut">
            <a:avLst>
              <a:gd name="adj" fmla="val 7285"/>
            </a:avLst>
          </a:prstGeom>
          <a:solidFill>
            <a:srgbClr val="FF5F3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BB32970D-6347-993B-4F81-90325AF009AD}"/>
              </a:ext>
            </a:extLst>
          </p:cNvPr>
          <p:cNvSpPr/>
          <p:nvPr/>
        </p:nvSpPr>
        <p:spPr>
          <a:xfrm>
            <a:off x="872835" y="5648930"/>
            <a:ext cx="9720192" cy="3126782"/>
          </a:xfrm>
          <a:prstGeom prst="rect">
            <a:avLst/>
          </a:prstGeom>
          <a:noFill/>
          <a:ln w="38100">
            <a:prstDash val="lg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97BBA576-876C-2790-D80E-7824FDFE52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678927" y="6212406"/>
            <a:ext cx="3648075" cy="1257300"/>
          </a:xfrm>
          <a:prstGeom prst="rect">
            <a:avLst/>
          </a:prstGeom>
        </p:spPr>
      </p:pic>
      <p:sp>
        <p:nvSpPr>
          <p:cNvPr id="19" name="CuadroTexto 18">
            <a:extLst>
              <a:ext uri="{FF2B5EF4-FFF2-40B4-BE49-F238E27FC236}">
                <a16:creationId xmlns:a16="http://schemas.microsoft.com/office/drawing/2014/main" id="{DF9611BE-1A0A-86A7-DDD6-89581D1CD1B3}"/>
              </a:ext>
            </a:extLst>
          </p:cNvPr>
          <p:cNvSpPr txBox="1"/>
          <p:nvPr/>
        </p:nvSpPr>
        <p:spPr>
          <a:xfrm>
            <a:off x="13379900" y="7570687"/>
            <a:ext cx="236475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4800" b="1" dirty="0">
                <a:solidFill>
                  <a:schemeClr val="accent6">
                    <a:lumMod val="50000"/>
                  </a:schemeClr>
                </a:solidFill>
              </a:rPr>
              <a:t>F</a:t>
            </a:r>
            <a:r>
              <a:rPr lang="es-CO" sz="4800" b="1">
                <a:solidFill>
                  <a:schemeClr val="accent6">
                    <a:lumMod val="50000"/>
                  </a:schemeClr>
                </a:solidFill>
              </a:rPr>
              <a:t>oneca</a:t>
            </a:r>
            <a:endParaRPr lang="es-CO" sz="48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4" name="Google Shape;1303;p53">
            <a:extLst>
              <a:ext uri="{FF2B5EF4-FFF2-40B4-BE49-F238E27FC236}">
                <a16:creationId xmlns:a16="http://schemas.microsoft.com/office/drawing/2014/main" id="{114FBF21-F3F4-BC1D-6F7C-D9D438BDBEEE}"/>
              </a:ext>
            </a:extLst>
          </p:cNvPr>
          <p:cNvSpPr/>
          <p:nvPr/>
        </p:nvSpPr>
        <p:spPr>
          <a:xfrm>
            <a:off x="10997474" y="6748078"/>
            <a:ext cx="1277005" cy="968760"/>
          </a:xfrm>
          <a:prstGeom prst="chevron">
            <a:avLst>
              <a:gd name="adj" fmla="val 50000"/>
            </a:avLst>
          </a:prstGeom>
          <a:ln>
            <a:headEnd type="none" w="sm" len="sm"/>
            <a:tailEnd type="none" w="sm" len="sm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7B44A4AD-364C-9F91-5968-1A3FFD83D10A}"/>
              </a:ext>
            </a:extLst>
          </p:cNvPr>
          <p:cNvSpPr txBox="1"/>
          <p:nvPr/>
        </p:nvSpPr>
        <p:spPr>
          <a:xfrm>
            <a:off x="12171003" y="2395019"/>
            <a:ext cx="4663922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CO" sz="24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tar los </a:t>
            </a:r>
            <a:r>
              <a:rPr lang="es-CO" sz="3200" dirty="0">
                <a:solidFill>
                  <a:schemeClr val="accent6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vicios de salud</a:t>
            </a:r>
            <a:r>
              <a:rPr lang="es-CO" sz="32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24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a la población perteneciente a los </a:t>
            </a:r>
            <a:r>
              <a:rPr lang="es-CO" sz="2400" b="1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nsionados-Beneficiarios por las Convenciones Colectivas de Trabajo Vigente (CCTV) </a:t>
            </a:r>
            <a:r>
              <a:rPr lang="es-CO" sz="24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critas por la ELECTRIFICADORA DEL CARIBE S.A. E.S.P., en los departamentos de Atlántico, Bolívar, Cesar, Guajira y Magdalena</a:t>
            </a:r>
            <a:r>
              <a:rPr lang="es-CO" sz="2400" b="1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”.</a:t>
            </a:r>
            <a:endParaRPr lang="es-CO" sz="2400" dirty="0"/>
          </a:p>
        </p:txBody>
      </p:sp>
    </p:spTree>
    <p:extLst>
      <p:ext uri="{BB962C8B-B14F-4D97-AF65-F5344CB8AC3E}">
        <p14:creationId xmlns:p14="http://schemas.microsoft.com/office/powerpoint/2010/main" val="34705795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D93857-9555-8564-3ED0-7A2E5DEC0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¿Quiénes Somos?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FABDC951-E0B6-0E08-113C-7F9FB3530B5F}"/>
              </a:ext>
            </a:extLst>
          </p:cNvPr>
          <p:cNvGrpSpPr/>
          <p:nvPr/>
        </p:nvGrpSpPr>
        <p:grpSpPr>
          <a:xfrm>
            <a:off x="2379265" y="1826529"/>
            <a:ext cx="2749188" cy="2635389"/>
            <a:chOff x="4446818" y="3510269"/>
            <a:chExt cx="2749188" cy="2635389"/>
          </a:xfrm>
        </p:grpSpPr>
        <p:pic>
          <p:nvPicPr>
            <p:cNvPr id="5" name="Imagen 4" descr="Logotipo, nombre de la empresa&#10;&#10;Descripción generada automáticamente">
              <a:extLst>
                <a:ext uri="{FF2B5EF4-FFF2-40B4-BE49-F238E27FC236}">
                  <a16:creationId xmlns:a16="http://schemas.microsoft.com/office/drawing/2014/main" id="{7B23E75C-E07B-20E9-4C9F-314C4BD774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383"/>
            <a:stretch/>
          </p:blipFill>
          <p:spPr>
            <a:xfrm>
              <a:off x="4717472" y="4267344"/>
              <a:ext cx="2336241" cy="1026159"/>
            </a:xfrm>
            <a:prstGeom prst="rect">
              <a:avLst/>
            </a:prstGeom>
          </p:spPr>
        </p:pic>
        <p:sp>
          <p:nvSpPr>
            <p:cNvPr id="7" name="Google Shape;695;p39">
              <a:extLst>
                <a:ext uri="{FF2B5EF4-FFF2-40B4-BE49-F238E27FC236}">
                  <a16:creationId xmlns:a16="http://schemas.microsoft.com/office/drawing/2014/main" id="{1853191E-0CA5-7953-E000-BDF41708318F}"/>
                </a:ext>
              </a:extLst>
            </p:cNvPr>
            <p:cNvSpPr/>
            <p:nvPr/>
          </p:nvSpPr>
          <p:spPr>
            <a:xfrm>
              <a:off x="4446818" y="3510269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00B0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" name="Grupo 7">
            <a:extLst>
              <a:ext uri="{FF2B5EF4-FFF2-40B4-BE49-F238E27FC236}">
                <a16:creationId xmlns:a16="http://schemas.microsoft.com/office/drawing/2014/main" id="{281E00CC-3F5E-DDC1-EC6D-2B42FD077F0E}"/>
              </a:ext>
            </a:extLst>
          </p:cNvPr>
          <p:cNvGrpSpPr/>
          <p:nvPr/>
        </p:nvGrpSpPr>
        <p:grpSpPr>
          <a:xfrm>
            <a:off x="7391581" y="1847787"/>
            <a:ext cx="2749188" cy="2635389"/>
            <a:chOff x="6481948" y="5455556"/>
            <a:chExt cx="2749188" cy="2635389"/>
          </a:xfrm>
        </p:grpSpPr>
        <p:pic>
          <p:nvPicPr>
            <p:cNvPr id="9" name="Imagen 8">
              <a:extLst>
                <a:ext uri="{FF2B5EF4-FFF2-40B4-BE49-F238E27FC236}">
                  <a16:creationId xmlns:a16="http://schemas.microsoft.com/office/drawing/2014/main" id="{9F370C56-7801-D1A3-9D43-5BD835A2EB0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729096" y="6212631"/>
              <a:ext cx="2254892" cy="1311519"/>
            </a:xfrm>
            <a:prstGeom prst="rect">
              <a:avLst/>
            </a:prstGeom>
          </p:spPr>
        </p:pic>
        <p:sp>
          <p:nvSpPr>
            <p:cNvPr id="10" name="Google Shape;696;p39">
              <a:extLst>
                <a:ext uri="{FF2B5EF4-FFF2-40B4-BE49-F238E27FC236}">
                  <a16:creationId xmlns:a16="http://schemas.microsoft.com/office/drawing/2014/main" id="{FE27980D-07D1-54A7-B38C-F82024F5CE94}"/>
                </a:ext>
              </a:extLst>
            </p:cNvPr>
            <p:cNvSpPr/>
            <p:nvPr/>
          </p:nvSpPr>
          <p:spPr>
            <a:xfrm>
              <a:off x="6481948" y="5455556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A65C9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" name="Grupo 13">
            <a:extLst>
              <a:ext uri="{FF2B5EF4-FFF2-40B4-BE49-F238E27FC236}">
                <a16:creationId xmlns:a16="http://schemas.microsoft.com/office/drawing/2014/main" id="{36D072D6-78F5-AB32-42F8-00FF5E9904C8}"/>
              </a:ext>
            </a:extLst>
          </p:cNvPr>
          <p:cNvGrpSpPr/>
          <p:nvPr/>
        </p:nvGrpSpPr>
        <p:grpSpPr>
          <a:xfrm>
            <a:off x="12628126" y="1779168"/>
            <a:ext cx="2749188" cy="2635389"/>
            <a:chOff x="9988835" y="5975258"/>
            <a:chExt cx="2749188" cy="2635389"/>
          </a:xfrm>
        </p:grpSpPr>
        <p:pic>
          <p:nvPicPr>
            <p:cNvPr id="12" name="Imagen 11">
              <a:extLst>
                <a:ext uri="{FF2B5EF4-FFF2-40B4-BE49-F238E27FC236}">
                  <a16:creationId xmlns:a16="http://schemas.microsoft.com/office/drawing/2014/main" id="{86B91AE9-F07D-41B2-F203-679859476D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539572" y="6550108"/>
              <a:ext cx="1793970" cy="1200329"/>
            </a:xfrm>
            <a:prstGeom prst="rect">
              <a:avLst/>
            </a:prstGeom>
          </p:spPr>
        </p:pic>
        <p:sp>
          <p:nvSpPr>
            <p:cNvPr id="13" name="Google Shape;695;p39">
              <a:extLst>
                <a:ext uri="{FF2B5EF4-FFF2-40B4-BE49-F238E27FC236}">
                  <a16:creationId xmlns:a16="http://schemas.microsoft.com/office/drawing/2014/main" id="{57FB4D1B-6068-281F-8541-A13938B23FF3}"/>
                </a:ext>
              </a:extLst>
            </p:cNvPr>
            <p:cNvSpPr/>
            <p:nvPr/>
          </p:nvSpPr>
          <p:spPr>
            <a:xfrm>
              <a:off x="9988835" y="5975258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FF5F3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" name="CuadroTexto 15">
            <a:extLst>
              <a:ext uri="{FF2B5EF4-FFF2-40B4-BE49-F238E27FC236}">
                <a16:creationId xmlns:a16="http://schemas.microsoft.com/office/drawing/2014/main" id="{09C43C94-6E69-4408-D274-21ECEB16D6E5}"/>
              </a:ext>
            </a:extLst>
          </p:cNvPr>
          <p:cNvSpPr txBox="1"/>
          <p:nvPr/>
        </p:nvSpPr>
        <p:spPr>
          <a:xfrm>
            <a:off x="1932852" y="4673456"/>
            <a:ext cx="3642013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2400" dirty="0">
                <a:solidFill>
                  <a:srgbClr val="00B094"/>
                </a:solidFill>
                <a:latin typeface="DM Sans Medium" panose="020F0502020204030204" pitchFamily="2" charset="0"/>
              </a:rPr>
              <a:t>Somos una Institución Pres­tadora de Servicios de Salud (IPS) que atiende desde la vi­sión de los usuarios, </a:t>
            </a:r>
            <a:r>
              <a:rPr lang="es-MX" sz="2400" dirty="0">
                <a:solidFill>
                  <a:srgbClr val="A65C99"/>
                </a:solidFill>
                <a:latin typeface="DM Sans Medium" panose="020F0502020204030204" pitchFamily="2" charset="0"/>
              </a:rPr>
              <a:t>partiendo de sus necesidades </a:t>
            </a:r>
            <a:r>
              <a:rPr lang="es-MX" sz="2400" dirty="0">
                <a:solidFill>
                  <a:srgbClr val="00B094"/>
                </a:solidFill>
                <a:latin typeface="DM Sans Medium" panose="020F0502020204030204" pitchFamily="2" charset="0"/>
              </a:rPr>
              <a:t>y expecta­tivas; desarrollando nuestros servicios con enfoque de ries­gos y calidad</a:t>
            </a:r>
            <a:r>
              <a:rPr lang="es-MX" sz="2400" dirty="0">
                <a:latin typeface="DM Sans Medium" panose="020F0502020204030204" pitchFamily="2" charset="0"/>
              </a:rPr>
              <a:t>. </a:t>
            </a:r>
            <a:endParaRPr lang="es-CO" sz="2400" dirty="0">
              <a:latin typeface="DM Sans Medium" panose="020F0502020204030204" pitchFamily="2" charset="0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3DEDEAA7-8D7C-6A12-B45C-F886BFE342D8}"/>
              </a:ext>
            </a:extLst>
          </p:cNvPr>
          <p:cNvSpPr txBox="1"/>
          <p:nvPr/>
        </p:nvSpPr>
        <p:spPr>
          <a:xfrm>
            <a:off x="7059468" y="4673456"/>
            <a:ext cx="3413414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2400" dirty="0">
                <a:solidFill>
                  <a:srgbClr val="A65C99"/>
                </a:solidFill>
                <a:latin typeface="DM Sans Medium" panose="020F0502020204030204" pitchFamily="2" charset="0"/>
              </a:rPr>
              <a:t>Contribuir al bienestar de los usuarios y su familia, generando valor en salud a través de nuestro </a:t>
            </a:r>
            <a:r>
              <a:rPr lang="es-MX" sz="2400" dirty="0">
                <a:solidFill>
                  <a:srgbClr val="FF0000"/>
                </a:solidFill>
                <a:latin typeface="DM Sans Medium" panose="020F0502020204030204" pitchFamily="2" charset="0"/>
              </a:rPr>
              <a:t>modelo de atención integral</a:t>
            </a:r>
            <a:r>
              <a:rPr lang="es-MX" sz="2400" dirty="0">
                <a:latin typeface="DM Sans Medium" panose="020F0502020204030204" pitchFamily="2" charset="0"/>
              </a:rPr>
              <a:t>, </a:t>
            </a:r>
            <a:r>
              <a:rPr lang="es-MX" sz="2400" dirty="0">
                <a:solidFill>
                  <a:srgbClr val="A65C99"/>
                </a:solidFill>
                <a:latin typeface="DM Sans Medium" panose="020F0502020204030204" pitchFamily="2" charset="0"/>
              </a:rPr>
              <a:t>humanizado y seguro.</a:t>
            </a:r>
            <a:endParaRPr lang="es-CO" sz="2400" dirty="0">
              <a:solidFill>
                <a:srgbClr val="A65C99"/>
              </a:solidFill>
              <a:latin typeface="DM Sans Medium" panose="020F0502020204030204" pitchFamily="2" charset="0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D6833BA8-5A32-6B23-79CB-5E19C589F23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4590"/>
          <a:stretch/>
        </p:blipFill>
        <p:spPr>
          <a:xfrm>
            <a:off x="12296013" y="4635070"/>
            <a:ext cx="3413414" cy="3067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6909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113EAF-976B-563F-A7CC-67952512B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CO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elo de Atención</a:t>
            </a:r>
          </a:p>
        </p:txBody>
      </p:sp>
      <p:grpSp>
        <p:nvGrpSpPr>
          <p:cNvPr id="5" name="Google Shape;455;p25">
            <a:extLst>
              <a:ext uri="{FF2B5EF4-FFF2-40B4-BE49-F238E27FC236}">
                <a16:creationId xmlns:a16="http://schemas.microsoft.com/office/drawing/2014/main" id="{3B7D68B7-978A-BD61-5030-3291A18853A5}"/>
              </a:ext>
            </a:extLst>
          </p:cNvPr>
          <p:cNvGrpSpPr/>
          <p:nvPr/>
        </p:nvGrpSpPr>
        <p:grpSpPr>
          <a:xfrm>
            <a:off x="9510444" y="3106964"/>
            <a:ext cx="6479578" cy="4391641"/>
            <a:chOff x="4960173" y="1911155"/>
            <a:chExt cx="3379425" cy="2290461"/>
          </a:xfrm>
        </p:grpSpPr>
        <p:sp>
          <p:nvSpPr>
            <p:cNvPr id="6" name="Google Shape;456;p25">
              <a:extLst>
                <a:ext uri="{FF2B5EF4-FFF2-40B4-BE49-F238E27FC236}">
                  <a16:creationId xmlns:a16="http://schemas.microsoft.com/office/drawing/2014/main" id="{08074F75-2996-88ED-2F7E-A182AE30016A}"/>
                </a:ext>
              </a:extLst>
            </p:cNvPr>
            <p:cNvSpPr/>
            <p:nvPr/>
          </p:nvSpPr>
          <p:spPr>
            <a:xfrm>
              <a:off x="4960173" y="1911155"/>
              <a:ext cx="821624" cy="663288"/>
            </a:xfrm>
            <a:custGeom>
              <a:avLst/>
              <a:gdLst/>
              <a:ahLst/>
              <a:cxnLst/>
              <a:rect l="l" t="t" r="r" b="b"/>
              <a:pathLst>
                <a:path w="13445" h="10854" extrusionOk="0">
                  <a:moveTo>
                    <a:pt x="3128" y="1"/>
                  </a:moveTo>
                  <a:cubicBezTo>
                    <a:pt x="3127" y="2"/>
                    <a:pt x="3126" y="4"/>
                    <a:pt x="3126" y="5"/>
                  </a:cubicBezTo>
                  <a:lnTo>
                    <a:pt x="3126" y="5"/>
                  </a:lnTo>
                  <a:lnTo>
                    <a:pt x="3128" y="1"/>
                  </a:lnTo>
                  <a:close/>
                  <a:moveTo>
                    <a:pt x="3126" y="5"/>
                  </a:moveTo>
                  <a:lnTo>
                    <a:pt x="0" y="6158"/>
                  </a:lnTo>
                  <a:cubicBezTo>
                    <a:pt x="264" y="5642"/>
                    <a:pt x="955" y="5398"/>
                    <a:pt x="1901" y="5398"/>
                  </a:cubicBezTo>
                  <a:cubicBezTo>
                    <a:pt x="3274" y="5398"/>
                    <a:pt x="5194" y="5915"/>
                    <a:pt x="7142" y="6908"/>
                  </a:cubicBezTo>
                  <a:cubicBezTo>
                    <a:pt x="9470" y="8087"/>
                    <a:pt x="11224" y="9607"/>
                    <a:pt x="11838" y="10854"/>
                  </a:cubicBezTo>
                  <a:lnTo>
                    <a:pt x="11838" y="7746"/>
                  </a:lnTo>
                  <a:lnTo>
                    <a:pt x="13445" y="6820"/>
                  </a:lnTo>
                  <a:lnTo>
                    <a:pt x="13445" y="6820"/>
                  </a:lnTo>
                  <a:cubicBezTo>
                    <a:pt x="13367" y="6830"/>
                    <a:pt x="13280" y="6830"/>
                    <a:pt x="13192" y="6830"/>
                  </a:cubicBezTo>
                  <a:cubicBezTo>
                    <a:pt x="11818" y="6830"/>
                    <a:pt x="9909" y="6304"/>
                    <a:pt x="7950" y="5311"/>
                  </a:cubicBezTo>
                  <a:cubicBezTo>
                    <a:pt x="4652" y="3646"/>
                    <a:pt x="2491" y="1264"/>
                    <a:pt x="3126" y="5"/>
                  </a:cubicBez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7" name="Google Shape;457;p25">
              <a:extLst>
                <a:ext uri="{FF2B5EF4-FFF2-40B4-BE49-F238E27FC236}">
                  <a16:creationId xmlns:a16="http://schemas.microsoft.com/office/drawing/2014/main" id="{FEA9BA1A-D1FB-5DB1-E5AA-88064A16FC60}"/>
                </a:ext>
              </a:extLst>
            </p:cNvPr>
            <p:cNvSpPr/>
            <p:nvPr/>
          </p:nvSpPr>
          <p:spPr>
            <a:xfrm>
              <a:off x="5683531" y="2164213"/>
              <a:ext cx="763875" cy="881756"/>
            </a:xfrm>
            <a:custGeom>
              <a:avLst/>
              <a:gdLst/>
              <a:ahLst/>
              <a:cxnLst/>
              <a:rect l="l" t="t" r="r" b="b"/>
              <a:pathLst>
                <a:path w="12500" h="14429" extrusionOk="0">
                  <a:moveTo>
                    <a:pt x="6255" y="0"/>
                  </a:moveTo>
                  <a:lnTo>
                    <a:pt x="1" y="3605"/>
                  </a:lnTo>
                  <a:lnTo>
                    <a:pt x="1" y="10824"/>
                  </a:lnTo>
                  <a:lnTo>
                    <a:pt x="6255" y="14429"/>
                  </a:lnTo>
                  <a:lnTo>
                    <a:pt x="12500" y="10824"/>
                  </a:lnTo>
                  <a:lnTo>
                    <a:pt x="12500" y="3605"/>
                  </a:lnTo>
                  <a:lnTo>
                    <a:pt x="62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8" name="Google Shape;458;p25">
              <a:extLst>
                <a:ext uri="{FF2B5EF4-FFF2-40B4-BE49-F238E27FC236}">
                  <a16:creationId xmlns:a16="http://schemas.microsoft.com/office/drawing/2014/main" id="{12444B52-6405-2EB5-A8CE-BB3681C02FBA}"/>
                </a:ext>
              </a:extLst>
            </p:cNvPr>
            <p:cNvSpPr txBox="1"/>
            <p:nvPr/>
          </p:nvSpPr>
          <p:spPr>
            <a:xfrm>
              <a:off x="6058098" y="2999816"/>
              <a:ext cx="22815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r>
                <a:rPr lang="en" sz="3068" b="1" dirty="0">
                  <a:solidFill>
                    <a:schemeClr val="lt2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Resultante</a:t>
              </a:r>
              <a:endParaRPr sz="3068" b="1" dirty="0">
                <a:solidFill>
                  <a:schemeClr val="lt2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9" name="Google Shape;459;p25">
              <a:extLst>
                <a:ext uri="{FF2B5EF4-FFF2-40B4-BE49-F238E27FC236}">
                  <a16:creationId xmlns:a16="http://schemas.microsoft.com/office/drawing/2014/main" id="{EC5F478E-8FFB-1DB8-6C44-70136D11F421}"/>
                </a:ext>
              </a:extLst>
            </p:cNvPr>
            <p:cNvSpPr txBox="1"/>
            <p:nvPr/>
          </p:nvSpPr>
          <p:spPr>
            <a:xfrm>
              <a:off x="6058075" y="3272216"/>
              <a:ext cx="2281500" cy="929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just"/>
              <a:r>
                <a:rPr lang="es-MX" sz="2000" b="1" dirty="0">
                  <a:latin typeface="Roboto"/>
                  <a:ea typeface="Roboto"/>
                  <a:cs typeface="Roboto"/>
                  <a:sym typeface="Roboto"/>
                </a:rPr>
                <a:t>Ruta de Atención </a:t>
              </a:r>
              <a:r>
                <a:rPr lang="es-MX" sz="2000" dirty="0"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s-MX" sz="2000" dirty="0"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  <a:sym typeface="Roboto"/>
                </a:rPr>
                <a:t>que se basa un Plan de Manejo Individual integrado y articulado con el asegurador del usuario en todos los niveles de atención; que garantiza la pertinencia y calidad en la atención. </a:t>
              </a:r>
            </a:p>
          </p:txBody>
        </p:sp>
      </p:grpSp>
      <p:grpSp>
        <p:nvGrpSpPr>
          <p:cNvPr id="10" name="Google Shape;460;p25">
            <a:extLst>
              <a:ext uri="{FF2B5EF4-FFF2-40B4-BE49-F238E27FC236}">
                <a16:creationId xmlns:a16="http://schemas.microsoft.com/office/drawing/2014/main" id="{00A8DCA0-5028-84E9-6A54-47E5E5CC2256}"/>
              </a:ext>
            </a:extLst>
          </p:cNvPr>
          <p:cNvGrpSpPr/>
          <p:nvPr/>
        </p:nvGrpSpPr>
        <p:grpSpPr>
          <a:xfrm>
            <a:off x="6571205" y="3974495"/>
            <a:ext cx="4374479" cy="4398426"/>
            <a:chOff x="3427213" y="2363616"/>
            <a:chExt cx="2281510" cy="2294000"/>
          </a:xfrm>
        </p:grpSpPr>
        <p:sp>
          <p:nvSpPr>
            <p:cNvPr id="11" name="Google Shape;461;p25">
              <a:extLst>
                <a:ext uri="{FF2B5EF4-FFF2-40B4-BE49-F238E27FC236}">
                  <a16:creationId xmlns:a16="http://schemas.microsoft.com/office/drawing/2014/main" id="{C0B32F46-42E5-2B0A-51A8-6F5708A99780}"/>
                </a:ext>
              </a:extLst>
            </p:cNvPr>
            <p:cNvSpPr/>
            <p:nvPr/>
          </p:nvSpPr>
          <p:spPr>
            <a:xfrm>
              <a:off x="4357079" y="2363616"/>
              <a:ext cx="429909" cy="779397"/>
            </a:xfrm>
            <a:custGeom>
              <a:avLst/>
              <a:gdLst/>
              <a:ahLst/>
              <a:cxnLst/>
              <a:rect l="l" t="t" r="r" b="b"/>
              <a:pathLst>
                <a:path w="7035" h="12754" extrusionOk="0">
                  <a:moveTo>
                    <a:pt x="1" y="1"/>
                  </a:moveTo>
                  <a:cubicBezTo>
                    <a:pt x="1443" y="1"/>
                    <a:pt x="2612" y="2856"/>
                    <a:pt x="2612" y="6372"/>
                  </a:cubicBezTo>
                  <a:cubicBezTo>
                    <a:pt x="2612" y="9899"/>
                    <a:pt x="1443" y="12754"/>
                    <a:pt x="1" y="12754"/>
                  </a:cubicBezTo>
                  <a:lnTo>
                    <a:pt x="7035" y="12754"/>
                  </a:lnTo>
                  <a:cubicBezTo>
                    <a:pt x="5593" y="12754"/>
                    <a:pt x="4424" y="9899"/>
                    <a:pt x="4424" y="6372"/>
                  </a:cubicBezTo>
                  <a:cubicBezTo>
                    <a:pt x="4424" y="2856"/>
                    <a:pt x="5593" y="1"/>
                    <a:pt x="7035" y="1"/>
                  </a:cubicBez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12" name="Google Shape;462;p25">
              <a:extLst>
                <a:ext uri="{FF2B5EF4-FFF2-40B4-BE49-F238E27FC236}">
                  <a16:creationId xmlns:a16="http://schemas.microsoft.com/office/drawing/2014/main" id="{6DE41DAF-433B-BED2-E6BB-DC0E1D12187B}"/>
                </a:ext>
              </a:extLst>
            </p:cNvPr>
            <p:cNvSpPr/>
            <p:nvPr/>
          </p:nvSpPr>
          <p:spPr>
            <a:xfrm>
              <a:off x="4190371" y="2970318"/>
              <a:ext cx="763875" cy="881756"/>
            </a:xfrm>
            <a:custGeom>
              <a:avLst/>
              <a:gdLst/>
              <a:ahLst/>
              <a:cxnLst/>
              <a:rect l="l" t="t" r="r" b="b"/>
              <a:pathLst>
                <a:path w="12500" h="14429" extrusionOk="0">
                  <a:moveTo>
                    <a:pt x="6245" y="1"/>
                  </a:moveTo>
                  <a:lnTo>
                    <a:pt x="1" y="3605"/>
                  </a:lnTo>
                  <a:lnTo>
                    <a:pt x="1" y="10824"/>
                  </a:lnTo>
                  <a:lnTo>
                    <a:pt x="6245" y="14429"/>
                  </a:lnTo>
                  <a:lnTo>
                    <a:pt x="12500" y="10824"/>
                  </a:lnTo>
                  <a:lnTo>
                    <a:pt x="12500" y="3605"/>
                  </a:lnTo>
                  <a:lnTo>
                    <a:pt x="6245" y="1"/>
                  </a:lnTo>
                  <a:close/>
                </a:path>
              </a:pathLst>
            </a:custGeom>
            <a:solidFill>
              <a:srgbClr val="FFB5A6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13" name="Google Shape;463;p25">
              <a:extLst>
                <a:ext uri="{FF2B5EF4-FFF2-40B4-BE49-F238E27FC236}">
                  <a16:creationId xmlns:a16="http://schemas.microsoft.com/office/drawing/2014/main" id="{6B2C7E49-6A78-672E-9D23-EC31BFF10E07}"/>
                </a:ext>
              </a:extLst>
            </p:cNvPr>
            <p:cNvSpPr txBox="1"/>
            <p:nvPr/>
          </p:nvSpPr>
          <p:spPr>
            <a:xfrm>
              <a:off x="3427223" y="3805916"/>
              <a:ext cx="22815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lt2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Articulación</a:t>
              </a:r>
              <a:endParaRPr sz="3068" b="1" dirty="0">
                <a:solidFill>
                  <a:schemeClr val="lt2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4" name="Google Shape;464;p25">
              <a:extLst>
                <a:ext uri="{FF2B5EF4-FFF2-40B4-BE49-F238E27FC236}">
                  <a16:creationId xmlns:a16="http://schemas.microsoft.com/office/drawing/2014/main" id="{6D2A47C6-61F9-3F07-45EC-D897CBBADDD0}"/>
                </a:ext>
              </a:extLst>
            </p:cNvPr>
            <p:cNvSpPr txBox="1"/>
            <p:nvPr/>
          </p:nvSpPr>
          <p:spPr>
            <a:xfrm>
              <a:off x="3427213" y="4078316"/>
              <a:ext cx="2281500" cy="579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just"/>
              <a:r>
                <a:rPr lang="es-CO" sz="2000" b="1" dirty="0">
                  <a:latin typeface="Roboto"/>
                  <a:ea typeface="Roboto"/>
                  <a:cs typeface="Roboto"/>
                  <a:sym typeface="Roboto"/>
                </a:rPr>
                <a:t>FONECA</a:t>
              </a:r>
              <a:r>
                <a:rPr lang="es-CO" sz="2000" dirty="0"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s-CO" sz="2000" dirty="0"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  <a:sym typeface="Roboto"/>
                </a:rPr>
                <a:t>aporta el Modelo de Atención Integral (MAI); a través del cual se </a:t>
              </a:r>
              <a:r>
                <a:rPr lang="es-CO" sz="2000" dirty="0">
                  <a:solidFill>
                    <a:srgbClr val="FF5F3F"/>
                  </a:solidFill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  <a:sym typeface="Roboto"/>
                </a:rPr>
                <a:t>optimiza</a:t>
              </a:r>
              <a:r>
                <a:rPr lang="es-CO" sz="2000" dirty="0"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  <a:sym typeface="Roboto"/>
                </a:rPr>
                <a:t> la prestación del servicio médico especial.  </a:t>
              </a:r>
            </a:p>
          </p:txBody>
        </p:sp>
      </p:grpSp>
      <p:grpSp>
        <p:nvGrpSpPr>
          <p:cNvPr id="15" name="Google Shape;465;p25">
            <a:extLst>
              <a:ext uri="{FF2B5EF4-FFF2-40B4-BE49-F238E27FC236}">
                <a16:creationId xmlns:a16="http://schemas.microsoft.com/office/drawing/2014/main" id="{F566FB9E-B09F-9F67-5C91-7D67EE6FF39A}"/>
              </a:ext>
            </a:extLst>
          </p:cNvPr>
          <p:cNvGrpSpPr/>
          <p:nvPr/>
        </p:nvGrpSpPr>
        <p:grpSpPr>
          <a:xfrm>
            <a:off x="1526891" y="3106964"/>
            <a:ext cx="6495145" cy="4391641"/>
            <a:chOff x="796350" y="1911155"/>
            <a:chExt cx="3387544" cy="2290461"/>
          </a:xfrm>
        </p:grpSpPr>
        <p:sp>
          <p:nvSpPr>
            <p:cNvPr id="16" name="Google Shape;466;p25">
              <a:extLst>
                <a:ext uri="{FF2B5EF4-FFF2-40B4-BE49-F238E27FC236}">
                  <a16:creationId xmlns:a16="http://schemas.microsoft.com/office/drawing/2014/main" id="{D4A0D799-CAA3-C4CF-49A6-AA69A47A8408}"/>
                </a:ext>
              </a:extLst>
            </p:cNvPr>
            <p:cNvSpPr/>
            <p:nvPr/>
          </p:nvSpPr>
          <p:spPr>
            <a:xfrm>
              <a:off x="3362209" y="1911155"/>
              <a:ext cx="821685" cy="663288"/>
            </a:xfrm>
            <a:custGeom>
              <a:avLst/>
              <a:gdLst/>
              <a:ahLst/>
              <a:cxnLst/>
              <a:rect l="l" t="t" r="r" b="b"/>
              <a:pathLst>
                <a:path w="13446" h="10854" extrusionOk="0">
                  <a:moveTo>
                    <a:pt x="10318" y="1"/>
                  </a:moveTo>
                  <a:lnTo>
                    <a:pt x="10321" y="6"/>
                  </a:lnTo>
                  <a:lnTo>
                    <a:pt x="10321" y="6"/>
                  </a:lnTo>
                  <a:cubicBezTo>
                    <a:pt x="10320" y="4"/>
                    <a:pt x="10319" y="2"/>
                    <a:pt x="10318" y="1"/>
                  </a:cubicBezTo>
                  <a:close/>
                  <a:moveTo>
                    <a:pt x="10321" y="6"/>
                  </a:moveTo>
                  <a:lnTo>
                    <a:pt x="10321" y="6"/>
                  </a:lnTo>
                  <a:cubicBezTo>
                    <a:pt x="10956" y="1264"/>
                    <a:pt x="8794" y="3646"/>
                    <a:pt x="5496" y="5311"/>
                  </a:cubicBezTo>
                  <a:cubicBezTo>
                    <a:pt x="3547" y="6304"/>
                    <a:pt x="1628" y="6830"/>
                    <a:pt x="254" y="6830"/>
                  </a:cubicBezTo>
                  <a:cubicBezTo>
                    <a:pt x="167" y="6830"/>
                    <a:pt x="79" y="6830"/>
                    <a:pt x="1" y="6820"/>
                  </a:cubicBezTo>
                  <a:lnTo>
                    <a:pt x="1" y="6820"/>
                  </a:lnTo>
                  <a:lnTo>
                    <a:pt x="1609" y="7746"/>
                  </a:lnTo>
                  <a:lnTo>
                    <a:pt x="1609" y="10854"/>
                  </a:lnTo>
                  <a:cubicBezTo>
                    <a:pt x="2222" y="9607"/>
                    <a:pt x="3986" y="8087"/>
                    <a:pt x="6305" y="6908"/>
                  </a:cubicBezTo>
                  <a:cubicBezTo>
                    <a:pt x="8262" y="5915"/>
                    <a:pt x="10172" y="5398"/>
                    <a:pt x="11546" y="5398"/>
                  </a:cubicBezTo>
                  <a:cubicBezTo>
                    <a:pt x="12491" y="5398"/>
                    <a:pt x="13183" y="5642"/>
                    <a:pt x="13445" y="6158"/>
                  </a:cubicBezTo>
                  <a:lnTo>
                    <a:pt x="10321" y="6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7" name="Google Shape;467;p25">
              <a:extLst>
                <a:ext uri="{FF2B5EF4-FFF2-40B4-BE49-F238E27FC236}">
                  <a16:creationId xmlns:a16="http://schemas.microsoft.com/office/drawing/2014/main" id="{24322A12-9A54-6456-C7EB-773CD908640F}"/>
                </a:ext>
              </a:extLst>
            </p:cNvPr>
            <p:cNvSpPr/>
            <p:nvPr/>
          </p:nvSpPr>
          <p:spPr>
            <a:xfrm>
              <a:off x="2696600" y="2164213"/>
              <a:ext cx="763936" cy="881756"/>
            </a:xfrm>
            <a:custGeom>
              <a:avLst/>
              <a:gdLst/>
              <a:ahLst/>
              <a:cxnLst/>
              <a:rect l="l" t="t" r="r" b="b"/>
              <a:pathLst>
                <a:path w="12501" h="14429" extrusionOk="0">
                  <a:moveTo>
                    <a:pt x="6255" y="0"/>
                  </a:moveTo>
                  <a:lnTo>
                    <a:pt x="1" y="3605"/>
                  </a:lnTo>
                  <a:lnTo>
                    <a:pt x="1" y="10824"/>
                  </a:lnTo>
                  <a:lnTo>
                    <a:pt x="6255" y="14429"/>
                  </a:lnTo>
                  <a:lnTo>
                    <a:pt x="12501" y="10824"/>
                  </a:lnTo>
                  <a:lnTo>
                    <a:pt x="12501" y="3605"/>
                  </a:lnTo>
                  <a:lnTo>
                    <a:pt x="6255" y="0"/>
                  </a:lnTo>
                  <a:close/>
                </a:path>
              </a:pathLst>
            </a:custGeom>
            <a:solidFill>
              <a:srgbClr val="A65C99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8" name="Google Shape;468;p25">
              <a:extLst>
                <a:ext uri="{FF2B5EF4-FFF2-40B4-BE49-F238E27FC236}">
                  <a16:creationId xmlns:a16="http://schemas.microsoft.com/office/drawing/2014/main" id="{3D340C0D-E4B3-E7AD-A560-BEE98E1288CF}"/>
                </a:ext>
              </a:extLst>
            </p:cNvPr>
            <p:cNvSpPr txBox="1"/>
            <p:nvPr/>
          </p:nvSpPr>
          <p:spPr>
            <a:xfrm>
              <a:off x="796373" y="2999816"/>
              <a:ext cx="22815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r"/>
              <a:r>
                <a:rPr lang="en" sz="3068" b="1" dirty="0">
                  <a:solidFill>
                    <a:schemeClr val="lt2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Propuesta</a:t>
              </a:r>
              <a:endParaRPr sz="3068" b="1" dirty="0">
                <a:solidFill>
                  <a:schemeClr val="lt2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9" name="Google Shape;469;p25">
              <a:extLst>
                <a:ext uri="{FF2B5EF4-FFF2-40B4-BE49-F238E27FC236}">
                  <a16:creationId xmlns:a16="http://schemas.microsoft.com/office/drawing/2014/main" id="{7D722CEC-2003-A517-79AE-903B0B0FD567}"/>
                </a:ext>
              </a:extLst>
            </p:cNvPr>
            <p:cNvSpPr txBox="1"/>
            <p:nvPr/>
          </p:nvSpPr>
          <p:spPr>
            <a:xfrm>
              <a:off x="796350" y="3272216"/>
              <a:ext cx="2281500" cy="929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marR="31115" algn="just">
                <a:lnSpc>
                  <a:spcPct val="107000"/>
                </a:lnSpc>
                <a:spcAft>
                  <a:spcPts val="1200"/>
                </a:spcAft>
                <a:tabLst>
                  <a:tab pos="1013460" algn="l"/>
                </a:tabLst>
              </a:pPr>
              <a:r>
                <a:rPr lang="es-CO" sz="2000" b="1" dirty="0"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</a:rPr>
                <a:t>UT Caribe R.E</a:t>
              </a:r>
              <a:r>
                <a:rPr lang="es-CO" sz="2000" dirty="0"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</a:rPr>
                <a:t> estructura un modelo de atención basado en la </a:t>
              </a:r>
              <a:r>
                <a:rPr lang="es-CO" sz="2000" dirty="0">
                  <a:solidFill>
                    <a:srgbClr val="FF5F3F"/>
                  </a:solidFill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</a:rPr>
                <a:t>Gestión del Riesgo </a:t>
              </a:r>
              <a:r>
                <a:rPr lang="es-CO" sz="2000" dirty="0"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</a:rPr>
                <a:t>en salud que busca la Integralidad en la prestación de los servicios. </a:t>
              </a:r>
              <a:endParaRPr lang="es-CO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0" name="Google Shape;471;p25">
            <a:extLst>
              <a:ext uri="{FF2B5EF4-FFF2-40B4-BE49-F238E27FC236}">
                <a16:creationId xmlns:a16="http://schemas.microsoft.com/office/drawing/2014/main" id="{7850E123-A22A-57F1-D070-AF81102468FE}"/>
              </a:ext>
            </a:extLst>
          </p:cNvPr>
          <p:cNvSpPr/>
          <p:nvPr/>
        </p:nvSpPr>
        <p:spPr>
          <a:xfrm>
            <a:off x="7612176" y="1619603"/>
            <a:ext cx="2308248" cy="2664444"/>
          </a:xfrm>
          <a:custGeom>
            <a:avLst/>
            <a:gdLst/>
            <a:ahLst/>
            <a:cxnLst/>
            <a:rect l="l" t="t" r="r" b="b"/>
            <a:pathLst>
              <a:path w="19700" h="22740" extrusionOk="0">
                <a:moveTo>
                  <a:pt x="9849" y="1"/>
                </a:moveTo>
                <a:lnTo>
                  <a:pt x="0" y="5680"/>
                </a:lnTo>
                <a:lnTo>
                  <a:pt x="0" y="17059"/>
                </a:lnTo>
                <a:lnTo>
                  <a:pt x="9849" y="22739"/>
                </a:lnTo>
                <a:lnTo>
                  <a:pt x="19699" y="17059"/>
                </a:lnTo>
                <a:lnTo>
                  <a:pt x="19699" y="5680"/>
                </a:lnTo>
                <a:lnTo>
                  <a:pt x="9849" y="1"/>
                </a:lnTo>
                <a:close/>
              </a:path>
            </a:pathLst>
          </a:custGeom>
          <a:solidFill>
            <a:srgbClr val="D7D7D7"/>
          </a:solidFill>
          <a:ln>
            <a:noFill/>
          </a:ln>
        </p:spPr>
        <p:txBody>
          <a:bodyPr spcFirstLastPara="1" wrap="square" lIns="175295" tIns="175295" rIns="175295" bIns="175295" anchor="ctr" anchorCtr="0">
            <a:noAutofit/>
          </a:bodyPr>
          <a:lstStyle/>
          <a:p>
            <a:endParaRPr sz="3451"/>
          </a:p>
        </p:txBody>
      </p:sp>
      <p:sp>
        <p:nvSpPr>
          <p:cNvPr id="21" name="Google Shape;472;p25">
            <a:extLst>
              <a:ext uri="{FF2B5EF4-FFF2-40B4-BE49-F238E27FC236}">
                <a16:creationId xmlns:a16="http://schemas.microsoft.com/office/drawing/2014/main" id="{305697B1-683E-2A64-8F3B-7C6CF19F1BCD}"/>
              </a:ext>
            </a:extLst>
          </p:cNvPr>
          <p:cNvSpPr/>
          <p:nvPr/>
        </p:nvSpPr>
        <p:spPr>
          <a:xfrm>
            <a:off x="8186307" y="2404997"/>
            <a:ext cx="1207788" cy="1110771"/>
          </a:xfrm>
          <a:custGeom>
            <a:avLst/>
            <a:gdLst/>
            <a:ahLst/>
            <a:cxnLst/>
            <a:rect l="l" t="t" r="r" b="b"/>
            <a:pathLst>
              <a:path w="10308" h="9480" extrusionOk="0">
                <a:moveTo>
                  <a:pt x="8749" y="0"/>
                </a:moveTo>
                <a:lnTo>
                  <a:pt x="3098" y="6108"/>
                </a:lnTo>
                <a:lnTo>
                  <a:pt x="1734" y="4179"/>
                </a:lnTo>
                <a:lnTo>
                  <a:pt x="0" y="5398"/>
                </a:lnTo>
                <a:lnTo>
                  <a:pt x="2875" y="9479"/>
                </a:lnTo>
                <a:lnTo>
                  <a:pt x="10308" y="1442"/>
                </a:lnTo>
                <a:lnTo>
                  <a:pt x="8749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75295" tIns="175295" rIns="175295" bIns="175295" anchor="ctr" anchorCtr="0">
            <a:noAutofit/>
          </a:bodyPr>
          <a:lstStyle/>
          <a:p>
            <a:endParaRPr sz="3451"/>
          </a:p>
        </p:txBody>
      </p:sp>
      <p:grpSp>
        <p:nvGrpSpPr>
          <p:cNvPr id="22" name="Google Shape;473;p25">
            <a:extLst>
              <a:ext uri="{FF2B5EF4-FFF2-40B4-BE49-F238E27FC236}">
                <a16:creationId xmlns:a16="http://schemas.microsoft.com/office/drawing/2014/main" id="{9AD0E246-D683-A1EA-686B-74A6CA9AF9CB}"/>
              </a:ext>
            </a:extLst>
          </p:cNvPr>
          <p:cNvGrpSpPr/>
          <p:nvPr/>
        </p:nvGrpSpPr>
        <p:grpSpPr>
          <a:xfrm>
            <a:off x="5591698" y="4067059"/>
            <a:ext cx="622172" cy="566283"/>
            <a:chOff x="2916351" y="2411893"/>
            <a:chExt cx="324494" cy="295345"/>
          </a:xfrm>
        </p:grpSpPr>
        <p:sp>
          <p:nvSpPr>
            <p:cNvPr id="23" name="Google Shape;474;p25">
              <a:extLst>
                <a:ext uri="{FF2B5EF4-FFF2-40B4-BE49-F238E27FC236}">
                  <a16:creationId xmlns:a16="http://schemas.microsoft.com/office/drawing/2014/main" id="{0D0887C8-E183-30D5-7DF5-FA5DD9609FC9}"/>
                </a:ext>
              </a:extLst>
            </p:cNvPr>
            <p:cNvSpPr/>
            <p:nvPr/>
          </p:nvSpPr>
          <p:spPr>
            <a:xfrm>
              <a:off x="3009788" y="2411893"/>
              <a:ext cx="137620" cy="137559"/>
            </a:xfrm>
            <a:custGeom>
              <a:avLst/>
              <a:gdLst/>
              <a:ahLst/>
              <a:cxnLst/>
              <a:rect l="l" t="t" r="r" b="b"/>
              <a:pathLst>
                <a:path w="2252" h="2251" extrusionOk="0">
                  <a:moveTo>
                    <a:pt x="1130" y="0"/>
                  </a:moveTo>
                  <a:cubicBezTo>
                    <a:pt x="507" y="0"/>
                    <a:pt x="0" y="497"/>
                    <a:pt x="0" y="1120"/>
                  </a:cubicBezTo>
                  <a:cubicBezTo>
                    <a:pt x="0" y="1744"/>
                    <a:pt x="507" y="2250"/>
                    <a:pt x="1130" y="2250"/>
                  </a:cubicBezTo>
                  <a:cubicBezTo>
                    <a:pt x="1745" y="2250"/>
                    <a:pt x="2251" y="1744"/>
                    <a:pt x="2251" y="1120"/>
                  </a:cubicBezTo>
                  <a:cubicBezTo>
                    <a:pt x="2251" y="497"/>
                    <a:pt x="1745" y="0"/>
                    <a:pt x="113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24" name="Google Shape;475;p25">
              <a:extLst>
                <a:ext uri="{FF2B5EF4-FFF2-40B4-BE49-F238E27FC236}">
                  <a16:creationId xmlns:a16="http://schemas.microsoft.com/office/drawing/2014/main" id="{62A5FC69-07CC-3338-54E5-AF2F58EE21E4}"/>
                </a:ext>
              </a:extLst>
            </p:cNvPr>
            <p:cNvSpPr/>
            <p:nvPr/>
          </p:nvSpPr>
          <p:spPr>
            <a:xfrm>
              <a:off x="2916351" y="2586912"/>
              <a:ext cx="324494" cy="120326"/>
            </a:xfrm>
            <a:custGeom>
              <a:avLst/>
              <a:gdLst/>
              <a:ahLst/>
              <a:cxnLst/>
              <a:rect l="l" t="t" r="r" b="b"/>
              <a:pathLst>
                <a:path w="5310" h="1969" extrusionOk="0">
                  <a:moveTo>
                    <a:pt x="2659" y="1"/>
                  </a:moveTo>
                  <a:cubicBezTo>
                    <a:pt x="1189" y="1"/>
                    <a:pt x="0" y="877"/>
                    <a:pt x="0" y="1969"/>
                  </a:cubicBezTo>
                  <a:lnTo>
                    <a:pt x="5309" y="1969"/>
                  </a:lnTo>
                  <a:cubicBezTo>
                    <a:pt x="5309" y="877"/>
                    <a:pt x="4121" y="1"/>
                    <a:pt x="265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</p:grpSp>
      <p:sp>
        <p:nvSpPr>
          <p:cNvPr id="25" name="Google Shape;476;p25">
            <a:extLst>
              <a:ext uri="{FF2B5EF4-FFF2-40B4-BE49-F238E27FC236}">
                <a16:creationId xmlns:a16="http://schemas.microsoft.com/office/drawing/2014/main" id="{E50301EA-F410-07B1-5F7E-B6B309CFD4A0}"/>
              </a:ext>
            </a:extLst>
          </p:cNvPr>
          <p:cNvSpPr/>
          <p:nvPr/>
        </p:nvSpPr>
        <p:spPr>
          <a:xfrm>
            <a:off x="8435176" y="5669715"/>
            <a:ext cx="626860" cy="627913"/>
          </a:xfrm>
          <a:custGeom>
            <a:avLst/>
            <a:gdLst/>
            <a:ahLst/>
            <a:cxnLst/>
            <a:rect l="l" t="t" r="r" b="b"/>
            <a:pathLst>
              <a:path w="5350" h="5359" extrusionOk="0">
                <a:moveTo>
                  <a:pt x="2095" y="1413"/>
                </a:moveTo>
                <a:cubicBezTo>
                  <a:pt x="2143" y="1413"/>
                  <a:pt x="2193" y="1423"/>
                  <a:pt x="2251" y="1452"/>
                </a:cubicBezTo>
                <a:lnTo>
                  <a:pt x="4024" y="2485"/>
                </a:lnTo>
                <a:cubicBezTo>
                  <a:pt x="4209" y="2592"/>
                  <a:pt x="4209" y="2767"/>
                  <a:pt x="4024" y="2874"/>
                </a:cubicBezTo>
                <a:lnTo>
                  <a:pt x="2251" y="3898"/>
                </a:lnTo>
                <a:cubicBezTo>
                  <a:pt x="2193" y="3926"/>
                  <a:pt x="2143" y="3946"/>
                  <a:pt x="2095" y="3946"/>
                </a:cubicBezTo>
                <a:cubicBezTo>
                  <a:pt x="1988" y="3946"/>
                  <a:pt x="1910" y="3859"/>
                  <a:pt x="1910" y="3703"/>
                </a:cubicBezTo>
                <a:lnTo>
                  <a:pt x="1910" y="1647"/>
                </a:lnTo>
                <a:cubicBezTo>
                  <a:pt x="1910" y="1501"/>
                  <a:pt x="1988" y="1413"/>
                  <a:pt x="2095" y="1413"/>
                </a:cubicBezTo>
                <a:close/>
                <a:moveTo>
                  <a:pt x="2680" y="1"/>
                </a:moveTo>
                <a:cubicBezTo>
                  <a:pt x="1199" y="1"/>
                  <a:pt x="0" y="1199"/>
                  <a:pt x="0" y="2679"/>
                </a:cubicBezTo>
                <a:cubicBezTo>
                  <a:pt x="0" y="4151"/>
                  <a:pt x="1199" y="5359"/>
                  <a:pt x="2680" y="5359"/>
                </a:cubicBezTo>
                <a:cubicBezTo>
                  <a:pt x="4150" y="5359"/>
                  <a:pt x="5349" y="4151"/>
                  <a:pt x="5349" y="2679"/>
                </a:cubicBezTo>
                <a:cubicBezTo>
                  <a:pt x="5349" y="1199"/>
                  <a:pt x="4150" y="1"/>
                  <a:pt x="2680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75295" tIns="175295" rIns="175295" bIns="175295" anchor="ctr" anchorCtr="0">
            <a:noAutofit/>
          </a:bodyPr>
          <a:lstStyle/>
          <a:p>
            <a:endParaRPr sz="3451"/>
          </a:p>
        </p:txBody>
      </p:sp>
      <p:sp>
        <p:nvSpPr>
          <p:cNvPr id="26" name="Google Shape;477;p25">
            <a:extLst>
              <a:ext uri="{FF2B5EF4-FFF2-40B4-BE49-F238E27FC236}">
                <a16:creationId xmlns:a16="http://schemas.microsoft.com/office/drawing/2014/main" id="{6AA4D631-B53D-4849-87BC-60659575540A}"/>
              </a:ext>
            </a:extLst>
          </p:cNvPr>
          <p:cNvSpPr/>
          <p:nvPr/>
        </p:nvSpPr>
        <p:spPr>
          <a:xfrm>
            <a:off x="11315210" y="4129745"/>
            <a:ext cx="623344" cy="616549"/>
          </a:xfrm>
          <a:custGeom>
            <a:avLst/>
            <a:gdLst/>
            <a:ahLst/>
            <a:cxnLst/>
            <a:rect l="l" t="t" r="r" b="b"/>
            <a:pathLst>
              <a:path w="5320" h="5262" extrusionOk="0">
                <a:moveTo>
                  <a:pt x="3985" y="761"/>
                </a:moveTo>
                <a:cubicBezTo>
                  <a:pt x="4307" y="761"/>
                  <a:pt x="4560" y="1014"/>
                  <a:pt x="4560" y="1326"/>
                </a:cubicBezTo>
                <a:cubicBezTo>
                  <a:pt x="4560" y="1637"/>
                  <a:pt x="4307" y="1891"/>
                  <a:pt x="3985" y="1891"/>
                </a:cubicBezTo>
                <a:cubicBezTo>
                  <a:pt x="3673" y="1891"/>
                  <a:pt x="3420" y="1637"/>
                  <a:pt x="3420" y="1326"/>
                </a:cubicBezTo>
                <a:cubicBezTo>
                  <a:pt x="3420" y="1014"/>
                  <a:pt x="3673" y="761"/>
                  <a:pt x="3985" y="761"/>
                </a:cubicBezTo>
                <a:close/>
                <a:moveTo>
                  <a:pt x="3420" y="1"/>
                </a:moveTo>
                <a:cubicBezTo>
                  <a:pt x="3108" y="1"/>
                  <a:pt x="2670" y="176"/>
                  <a:pt x="2445" y="401"/>
                </a:cubicBezTo>
                <a:lnTo>
                  <a:pt x="224" y="2631"/>
                </a:lnTo>
                <a:cubicBezTo>
                  <a:pt x="1" y="2856"/>
                  <a:pt x="1" y="3216"/>
                  <a:pt x="224" y="3430"/>
                </a:cubicBezTo>
                <a:lnTo>
                  <a:pt x="1880" y="5096"/>
                </a:lnTo>
                <a:cubicBezTo>
                  <a:pt x="1988" y="5203"/>
                  <a:pt x="2134" y="5262"/>
                  <a:pt x="2280" y="5262"/>
                </a:cubicBezTo>
                <a:cubicBezTo>
                  <a:pt x="2426" y="5262"/>
                  <a:pt x="2573" y="5203"/>
                  <a:pt x="2689" y="5096"/>
                </a:cubicBezTo>
                <a:lnTo>
                  <a:pt x="4911" y="2865"/>
                </a:lnTo>
                <a:cubicBezTo>
                  <a:pt x="5134" y="2641"/>
                  <a:pt x="5320" y="2203"/>
                  <a:pt x="5320" y="1891"/>
                </a:cubicBezTo>
                <a:lnTo>
                  <a:pt x="5320" y="566"/>
                </a:lnTo>
                <a:cubicBezTo>
                  <a:pt x="5320" y="254"/>
                  <a:pt x="5056" y="1"/>
                  <a:pt x="47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75295" tIns="175295" rIns="175295" bIns="175295" anchor="ctr" anchorCtr="0">
            <a:noAutofit/>
          </a:bodyPr>
          <a:lstStyle/>
          <a:p>
            <a:endParaRPr sz="3451"/>
          </a:p>
        </p:txBody>
      </p:sp>
    </p:spTree>
    <p:extLst>
      <p:ext uri="{BB962C8B-B14F-4D97-AF65-F5344CB8AC3E}">
        <p14:creationId xmlns:p14="http://schemas.microsoft.com/office/powerpoint/2010/main" val="36593036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113EAF-976B-563F-A7CC-67952512B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CO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posición Operativa</a:t>
            </a: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id="{0967898A-29C9-5FFE-AEB1-A78038A5935A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400D4A61-763C-E017-BAC6-78464F52F2E9}"/>
              </a:ext>
            </a:extLst>
          </p:cNvPr>
          <p:cNvGrpSpPr/>
          <p:nvPr/>
        </p:nvGrpSpPr>
        <p:grpSpPr>
          <a:xfrm>
            <a:off x="1739216" y="2388597"/>
            <a:ext cx="14053918" cy="6177886"/>
            <a:chOff x="1046997" y="2508913"/>
            <a:chExt cx="14053918" cy="6177886"/>
          </a:xfrm>
        </p:grpSpPr>
        <p:grpSp>
          <p:nvGrpSpPr>
            <p:cNvPr id="4" name="Google Shape;831;p34">
              <a:extLst>
                <a:ext uri="{FF2B5EF4-FFF2-40B4-BE49-F238E27FC236}">
                  <a16:creationId xmlns:a16="http://schemas.microsoft.com/office/drawing/2014/main" id="{ECAD2ABC-5FB3-6D12-C8B3-D326577FF54A}"/>
                </a:ext>
              </a:extLst>
            </p:cNvPr>
            <p:cNvGrpSpPr/>
            <p:nvPr/>
          </p:nvGrpSpPr>
          <p:grpSpPr>
            <a:xfrm>
              <a:off x="1205350" y="2581264"/>
              <a:ext cx="13776105" cy="6105535"/>
              <a:chOff x="468281" y="1590556"/>
              <a:chExt cx="7539194" cy="2379361"/>
            </a:xfrm>
          </p:grpSpPr>
          <p:sp>
            <p:nvSpPr>
              <p:cNvPr id="27" name="Google Shape;832;p34">
                <a:extLst>
                  <a:ext uri="{FF2B5EF4-FFF2-40B4-BE49-F238E27FC236}">
                    <a16:creationId xmlns:a16="http://schemas.microsoft.com/office/drawing/2014/main" id="{411CC3BF-1A82-1B64-A065-3A57EC0811A4}"/>
                  </a:ext>
                </a:extLst>
              </p:cNvPr>
              <p:cNvSpPr/>
              <p:nvPr/>
            </p:nvSpPr>
            <p:spPr>
              <a:xfrm>
                <a:off x="6444814" y="2268249"/>
                <a:ext cx="1562661" cy="1679494"/>
              </a:xfrm>
              <a:custGeom>
                <a:avLst/>
                <a:gdLst/>
                <a:ahLst/>
                <a:cxnLst/>
                <a:rect l="l" t="t" r="r" b="b"/>
                <a:pathLst>
                  <a:path w="26620" h="31328" extrusionOk="0">
                    <a:moveTo>
                      <a:pt x="511" y="0"/>
                    </a:moveTo>
                    <a:cubicBezTo>
                      <a:pt x="227" y="0"/>
                      <a:pt x="0" y="227"/>
                      <a:pt x="0" y="496"/>
                    </a:cubicBezTo>
                    <a:lnTo>
                      <a:pt x="0" y="31327"/>
                    </a:lnTo>
                    <a:lnTo>
                      <a:pt x="26123" y="31327"/>
                    </a:lnTo>
                    <a:cubicBezTo>
                      <a:pt x="26407" y="31327"/>
                      <a:pt x="26619" y="31115"/>
                      <a:pt x="26619" y="30831"/>
                    </a:cubicBezTo>
                    <a:lnTo>
                      <a:pt x="26619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29" name="Google Shape;834;p34">
                <a:extLst>
                  <a:ext uri="{FF2B5EF4-FFF2-40B4-BE49-F238E27FC236}">
                    <a16:creationId xmlns:a16="http://schemas.microsoft.com/office/drawing/2014/main" id="{2ED673FB-CE75-63EC-7D8F-D499A0B6D7CB}"/>
                  </a:ext>
                </a:extLst>
              </p:cNvPr>
              <p:cNvSpPr/>
              <p:nvPr/>
            </p:nvSpPr>
            <p:spPr>
              <a:xfrm>
                <a:off x="6430599" y="1596502"/>
                <a:ext cx="1576876" cy="551980"/>
              </a:xfrm>
              <a:custGeom>
                <a:avLst/>
                <a:gdLst/>
                <a:ahLst/>
                <a:cxnLst/>
                <a:rect l="l" t="t" r="r" b="b"/>
                <a:pathLst>
                  <a:path w="25869" h="9403" extrusionOk="0">
                    <a:moveTo>
                      <a:pt x="44" y="0"/>
                    </a:moveTo>
                    <a:cubicBezTo>
                      <a:pt x="16" y="0"/>
                      <a:pt x="1" y="14"/>
                      <a:pt x="1" y="42"/>
                    </a:cubicBezTo>
                    <a:lnTo>
                      <a:pt x="1" y="9346"/>
                    </a:lnTo>
                    <a:cubicBezTo>
                      <a:pt x="1" y="9374"/>
                      <a:pt x="16" y="9402"/>
                      <a:pt x="44" y="9402"/>
                    </a:cubicBezTo>
                    <a:lnTo>
                      <a:pt x="25812" y="9402"/>
                    </a:lnTo>
                    <a:cubicBezTo>
                      <a:pt x="25840" y="9402"/>
                      <a:pt x="25868" y="9374"/>
                      <a:pt x="25868" y="9346"/>
                    </a:cubicBezTo>
                    <a:lnTo>
                      <a:pt x="25868" y="42"/>
                    </a:lnTo>
                    <a:cubicBezTo>
                      <a:pt x="25868" y="14"/>
                      <a:pt x="25840" y="0"/>
                      <a:pt x="25812" y="0"/>
                    </a:cubicBezTo>
                    <a:close/>
                  </a:path>
                </a:pathLst>
              </a:custGeom>
              <a:solidFill>
                <a:srgbClr val="00B094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0" name="Google Shape;835;p34">
                <a:extLst>
                  <a:ext uri="{FF2B5EF4-FFF2-40B4-BE49-F238E27FC236}">
                    <a16:creationId xmlns:a16="http://schemas.microsoft.com/office/drawing/2014/main" id="{330E87DB-CF55-6875-C985-C779C58D9C5B}"/>
                  </a:ext>
                </a:extLst>
              </p:cNvPr>
              <p:cNvSpPr/>
              <p:nvPr/>
            </p:nvSpPr>
            <p:spPr>
              <a:xfrm>
                <a:off x="4448649" y="2268249"/>
                <a:ext cx="1563541" cy="1679494"/>
              </a:xfrm>
              <a:custGeom>
                <a:avLst/>
                <a:gdLst/>
                <a:ahLst/>
                <a:cxnLst/>
                <a:rect l="l" t="t" r="r" b="b"/>
                <a:pathLst>
                  <a:path w="26635" h="31328" extrusionOk="0">
                    <a:moveTo>
                      <a:pt x="511" y="0"/>
                    </a:moveTo>
                    <a:cubicBezTo>
                      <a:pt x="228" y="0"/>
                      <a:pt x="1" y="227"/>
                      <a:pt x="1" y="496"/>
                    </a:cubicBezTo>
                    <a:lnTo>
                      <a:pt x="1" y="31327"/>
                    </a:lnTo>
                    <a:lnTo>
                      <a:pt x="26124" y="31327"/>
                    </a:lnTo>
                    <a:cubicBezTo>
                      <a:pt x="26407" y="31327"/>
                      <a:pt x="26634" y="31115"/>
                      <a:pt x="26634" y="30831"/>
                    </a:cubicBezTo>
                    <a:lnTo>
                      <a:pt x="26634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2" name="Google Shape;837;p34">
                <a:extLst>
                  <a:ext uri="{FF2B5EF4-FFF2-40B4-BE49-F238E27FC236}">
                    <a16:creationId xmlns:a16="http://schemas.microsoft.com/office/drawing/2014/main" id="{D77A0785-FDA3-B77A-D631-7C1524F38802}"/>
                  </a:ext>
                </a:extLst>
              </p:cNvPr>
              <p:cNvSpPr/>
              <p:nvPr/>
            </p:nvSpPr>
            <p:spPr>
              <a:xfrm>
                <a:off x="4471131" y="1590556"/>
                <a:ext cx="1518516" cy="551980"/>
              </a:xfrm>
              <a:custGeom>
                <a:avLst/>
                <a:gdLst/>
                <a:ahLst/>
                <a:cxnLst/>
                <a:rect l="l" t="t" r="r" b="b"/>
                <a:pathLst>
                  <a:path w="25868" h="9403" extrusionOk="0">
                    <a:moveTo>
                      <a:pt x="57" y="0"/>
                    </a:moveTo>
                    <a:cubicBezTo>
                      <a:pt x="28" y="0"/>
                      <a:pt x="0" y="14"/>
                      <a:pt x="0" y="42"/>
                    </a:cubicBezTo>
                    <a:lnTo>
                      <a:pt x="0" y="9346"/>
                    </a:lnTo>
                    <a:cubicBezTo>
                      <a:pt x="0" y="9374"/>
                      <a:pt x="28" y="9402"/>
                      <a:pt x="57" y="9402"/>
                    </a:cubicBezTo>
                    <a:lnTo>
                      <a:pt x="25826" y="9402"/>
                    </a:lnTo>
                    <a:cubicBezTo>
                      <a:pt x="25854" y="9402"/>
                      <a:pt x="25868" y="9374"/>
                      <a:pt x="25868" y="9346"/>
                    </a:cubicBezTo>
                    <a:lnTo>
                      <a:pt x="25868" y="42"/>
                    </a:lnTo>
                    <a:cubicBezTo>
                      <a:pt x="25868" y="14"/>
                      <a:pt x="25854" y="0"/>
                      <a:pt x="25826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3" name="Google Shape;838;p34">
                <a:extLst>
                  <a:ext uri="{FF2B5EF4-FFF2-40B4-BE49-F238E27FC236}">
                    <a16:creationId xmlns:a16="http://schemas.microsoft.com/office/drawing/2014/main" id="{D85D54D4-3F74-29C7-C629-F7EEF12D7B5F}"/>
                  </a:ext>
                </a:extLst>
              </p:cNvPr>
              <p:cNvSpPr/>
              <p:nvPr/>
            </p:nvSpPr>
            <p:spPr>
              <a:xfrm>
                <a:off x="2453306" y="2268249"/>
                <a:ext cx="1562719" cy="1679494"/>
              </a:xfrm>
              <a:custGeom>
                <a:avLst/>
                <a:gdLst/>
                <a:ahLst/>
                <a:cxnLst/>
                <a:rect l="l" t="t" r="r" b="b"/>
                <a:pathLst>
                  <a:path w="26621" h="31328" extrusionOk="0">
                    <a:moveTo>
                      <a:pt x="498" y="0"/>
                    </a:moveTo>
                    <a:cubicBezTo>
                      <a:pt x="228" y="0"/>
                      <a:pt x="1" y="227"/>
                      <a:pt x="1" y="496"/>
                    </a:cubicBezTo>
                    <a:lnTo>
                      <a:pt x="1" y="31327"/>
                    </a:lnTo>
                    <a:lnTo>
                      <a:pt x="26123" y="31327"/>
                    </a:lnTo>
                    <a:cubicBezTo>
                      <a:pt x="26394" y="31327"/>
                      <a:pt x="26620" y="31115"/>
                      <a:pt x="26620" y="30831"/>
                    </a:cubicBezTo>
                    <a:lnTo>
                      <a:pt x="26620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4" name="Google Shape;839;p34">
                <a:extLst>
                  <a:ext uri="{FF2B5EF4-FFF2-40B4-BE49-F238E27FC236}">
                    <a16:creationId xmlns:a16="http://schemas.microsoft.com/office/drawing/2014/main" id="{B834C38A-8A9D-375C-0786-D0E2532523EC}"/>
                  </a:ext>
                </a:extLst>
              </p:cNvPr>
              <p:cNvSpPr/>
              <p:nvPr/>
            </p:nvSpPr>
            <p:spPr>
              <a:xfrm>
                <a:off x="2474965" y="1590556"/>
                <a:ext cx="1518556" cy="552003"/>
              </a:xfrm>
              <a:custGeom>
                <a:avLst/>
                <a:gdLst/>
                <a:ahLst/>
                <a:cxnLst/>
                <a:rect l="l" t="t" r="r" b="b"/>
                <a:pathLst>
                  <a:path w="25883" h="9403" extrusionOk="0">
                    <a:moveTo>
                      <a:pt x="57" y="0"/>
                    </a:moveTo>
                    <a:cubicBezTo>
                      <a:pt x="29" y="0"/>
                      <a:pt x="0" y="14"/>
                      <a:pt x="0" y="42"/>
                    </a:cubicBezTo>
                    <a:lnTo>
                      <a:pt x="0" y="9346"/>
                    </a:lnTo>
                    <a:cubicBezTo>
                      <a:pt x="0" y="9374"/>
                      <a:pt x="29" y="9402"/>
                      <a:pt x="57" y="9402"/>
                    </a:cubicBezTo>
                    <a:lnTo>
                      <a:pt x="25826" y="9402"/>
                    </a:lnTo>
                    <a:cubicBezTo>
                      <a:pt x="25854" y="9402"/>
                      <a:pt x="25883" y="9374"/>
                      <a:pt x="25883" y="9346"/>
                    </a:cubicBezTo>
                    <a:lnTo>
                      <a:pt x="25883" y="42"/>
                    </a:lnTo>
                    <a:cubicBezTo>
                      <a:pt x="25883" y="14"/>
                      <a:pt x="25854" y="0"/>
                      <a:pt x="25826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6" name="Google Shape;841;p34">
                <a:extLst>
                  <a:ext uri="{FF2B5EF4-FFF2-40B4-BE49-F238E27FC236}">
                    <a16:creationId xmlns:a16="http://schemas.microsoft.com/office/drawing/2014/main" id="{B26D6BF0-61EE-7655-4C19-C4B131DA01B4}"/>
                  </a:ext>
                </a:extLst>
              </p:cNvPr>
              <p:cNvSpPr/>
              <p:nvPr/>
            </p:nvSpPr>
            <p:spPr>
              <a:xfrm>
                <a:off x="468302" y="2267225"/>
                <a:ext cx="1562661" cy="1702692"/>
              </a:xfrm>
              <a:custGeom>
                <a:avLst/>
                <a:gdLst/>
                <a:ahLst/>
                <a:cxnLst/>
                <a:rect l="l" t="t" r="r" b="b"/>
                <a:pathLst>
                  <a:path w="26620" h="31328" extrusionOk="0">
                    <a:moveTo>
                      <a:pt x="497" y="0"/>
                    </a:moveTo>
                    <a:cubicBezTo>
                      <a:pt x="227" y="0"/>
                      <a:pt x="0" y="227"/>
                      <a:pt x="0" y="496"/>
                    </a:cubicBezTo>
                    <a:lnTo>
                      <a:pt x="0" y="31327"/>
                    </a:lnTo>
                    <a:lnTo>
                      <a:pt x="26123" y="31327"/>
                    </a:lnTo>
                    <a:cubicBezTo>
                      <a:pt x="26406" y="31327"/>
                      <a:pt x="26620" y="31115"/>
                      <a:pt x="26620" y="30831"/>
                    </a:cubicBezTo>
                    <a:lnTo>
                      <a:pt x="26620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7" name="Google Shape;842;p34">
                <a:extLst>
                  <a:ext uri="{FF2B5EF4-FFF2-40B4-BE49-F238E27FC236}">
                    <a16:creationId xmlns:a16="http://schemas.microsoft.com/office/drawing/2014/main" id="{C593B779-5BEA-0E0E-B6D3-78371985B09E}"/>
                  </a:ext>
                </a:extLst>
              </p:cNvPr>
              <p:cNvSpPr/>
              <p:nvPr/>
            </p:nvSpPr>
            <p:spPr>
              <a:xfrm>
                <a:off x="468281" y="1590556"/>
                <a:ext cx="1562682" cy="552003"/>
              </a:xfrm>
              <a:custGeom>
                <a:avLst/>
                <a:gdLst/>
                <a:ahLst/>
                <a:cxnLst/>
                <a:rect l="l" t="t" r="r" b="b"/>
                <a:pathLst>
                  <a:path w="25869" h="9403" extrusionOk="0">
                    <a:moveTo>
                      <a:pt x="42" y="0"/>
                    </a:moveTo>
                    <a:cubicBezTo>
                      <a:pt x="14" y="0"/>
                      <a:pt x="0" y="14"/>
                      <a:pt x="0" y="42"/>
                    </a:cubicBezTo>
                    <a:lnTo>
                      <a:pt x="0" y="9346"/>
                    </a:lnTo>
                    <a:cubicBezTo>
                      <a:pt x="0" y="9374"/>
                      <a:pt x="14" y="9402"/>
                      <a:pt x="42" y="9402"/>
                    </a:cubicBezTo>
                    <a:lnTo>
                      <a:pt x="25811" y="9402"/>
                    </a:lnTo>
                    <a:cubicBezTo>
                      <a:pt x="25840" y="9402"/>
                      <a:pt x="25868" y="9374"/>
                      <a:pt x="25868" y="9346"/>
                    </a:cubicBezTo>
                    <a:lnTo>
                      <a:pt x="25868" y="42"/>
                    </a:lnTo>
                    <a:cubicBezTo>
                      <a:pt x="25868" y="14"/>
                      <a:pt x="25840" y="0"/>
                      <a:pt x="2581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 dirty="0"/>
              </a:p>
            </p:txBody>
          </p:sp>
          <p:sp>
            <p:nvSpPr>
              <p:cNvPr id="39" name="Google Shape;844;p34">
                <a:extLst>
                  <a:ext uri="{FF2B5EF4-FFF2-40B4-BE49-F238E27FC236}">
                    <a16:creationId xmlns:a16="http://schemas.microsoft.com/office/drawing/2014/main" id="{7E0ACD13-EB4F-C7C1-55B2-12C901E94545}"/>
                  </a:ext>
                </a:extLst>
              </p:cNvPr>
              <p:cNvSpPr/>
              <p:nvPr/>
            </p:nvSpPr>
            <p:spPr>
              <a:xfrm>
                <a:off x="6478480" y="1686629"/>
                <a:ext cx="378925" cy="362429"/>
              </a:xfrm>
              <a:custGeom>
                <a:avLst/>
                <a:gdLst/>
                <a:ahLst/>
                <a:cxnLst/>
                <a:rect l="l" t="t" r="r" b="b"/>
                <a:pathLst>
                  <a:path w="6455" h="6174" extrusionOk="0">
                    <a:moveTo>
                      <a:pt x="3760" y="741"/>
                    </a:moveTo>
                    <a:cubicBezTo>
                      <a:pt x="4696" y="741"/>
                      <a:pt x="5461" y="1494"/>
                      <a:pt x="5461" y="2443"/>
                    </a:cubicBezTo>
                    <a:cubicBezTo>
                      <a:pt x="5461" y="3379"/>
                      <a:pt x="4696" y="4145"/>
                      <a:pt x="3760" y="4145"/>
                    </a:cubicBezTo>
                    <a:cubicBezTo>
                      <a:pt x="2824" y="4145"/>
                      <a:pt x="2058" y="3379"/>
                      <a:pt x="2058" y="2443"/>
                    </a:cubicBezTo>
                    <a:cubicBezTo>
                      <a:pt x="2058" y="1494"/>
                      <a:pt x="2824" y="741"/>
                      <a:pt x="3760" y="741"/>
                    </a:cubicBezTo>
                    <a:close/>
                    <a:moveTo>
                      <a:pt x="3752" y="1"/>
                    </a:moveTo>
                    <a:cubicBezTo>
                      <a:pt x="3125" y="1"/>
                      <a:pt x="2497" y="238"/>
                      <a:pt x="2015" y="713"/>
                    </a:cubicBezTo>
                    <a:cubicBezTo>
                      <a:pt x="1164" y="1579"/>
                      <a:pt x="1065" y="2897"/>
                      <a:pt x="1746" y="3861"/>
                    </a:cubicBezTo>
                    <a:lnTo>
                      <a:pt x="171" y="5421"/>
                    </a:lnTo>
                    <a:cubicBezTo>
                      <a:pt x="1" y="5591"/>
                      <a:pt x="1" y="5875"/>
                      <a:pt x="171" y="6045"/>
                    </a:cubicBezTo>
                    <a:cubicBezTo>
                      <a:pt x="256" y="6130"/>
                      <a:pt x="370" y="6174"/>
                      <a:pt x="469" y="6174"/>
                    </a:cubicBezTo>
                    <a:cubicBezTo>
                      <a:pt x="583" y="6174"/>
                      <a:pt x="696" y="6130"/>
                      <a:pt x="781" y="6045"/>
                    </a:cubicBezTo>
                    <a:lnTo>
                      <a:pt x="2355" y="4472"/>
                    </a:lnTo>
                    <a:cubicBezTo>
                      <a:pt x="2773" y="4765"/>
                      <a:pt x="3265" y="4912"/>
                      <a:pt x="3757" y="4912"/>
                    </a:cubicBezTo>
                    <a:cubicBezTo>
                      <a:pt x="4385" y="4912"/>
                      <a:pt x="5013" y="4672"/>
                      <a:pt x="5490" y="4188"/>
                    </a:cubicBezTo>
                    <a:cubicBezTo>
                      <a:pt x="6454" y="3237"/>
                      <a:pt x="6454" y="1677"/>
                      <a:pt x="5490" y="713"/>
                    </a:cubicBezTo>
                    <a:cubicBezTo>
                      <a:pt x="5008" y="238"/>
                      <a:pt x="4380" y="1"/>
                      <a:pt x="375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7" name="Google Shape;847;p34">
                <a:extLst>
                  <a:ext uri="{FF2B5EF4-FFF2-40B4-BE49-F238E27FC236}">
                    <a16:creationId xmlns:a16="http://schemas.microsoft.com/office/drawing/2014/main" id="{3F5130FD-07A4-F13D-C4C6-0D5BAB1E5A11}"/>
                  </a:ext>
                </a:extLst>
              </p:cNvPr>
              <p:cNvSpPr/>
              <p:nvPr/>
            </p:nvSpPr>
            <p:spPr>
              <a:xfrm>
                <a:off x="814639" y="1914369"/>
                <a:ext cx="21661" cy="34224"/>
              </a:xfrm>
              <a:custGeom>
                <a:avLst/>
                <a:gdLst/>
                <a:ahLst/>
                <a:cxnLst/>
                <a:rect l="l" t="t" r="r" b="b"/>
                <a:pathLst>
                  <a:path w="369" h="583" extrusionOk="0">
                    <a:moveTo>
                      <a:pt x="0" y="1"/>
                    </a:moveTo>
                    <a:lnTo>
                      <a:pt x="0" y="583"/>
                    </a:lnTo>
                    <a:cubicBezTo>
                      <a:pt x="42" y="583"/>
                      <a:pt x="85" y="568"/>
                      <a:pt x="127" y="539"/>
                    </a:cubicBezTo>
                    <a:cubicBezTo>
                      <a:pt x="284" y="469"/>
                      <a:pt x="369" y="356"/>
                      <a:pt x="354" y="227"/>
                    </a:cubicBezTo>
                    <a:cubicBezTo>
                      <a:pt x="354" y="114"/>
                      <a:pt x="212" y="57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1" name="Google Shape;849;p34">
                <a:extLst>
                  <a:ext uri="{FF2B5EF4-FFF2-40B4-BE49-F238E27FC236}">
                    <a16:creationId xmlns:a16="http://schemas.microsoft.com/office/drawing/2014/main" id="{00B34C91-4070-60B7-07CE-16D16A0B0D0E}"/>
                  </a:ext>
                </a:extLst>
              </p:cNvPr>
              <p:cNvSpPr/>
              <p:nvPr/>
            </p:nvSpPr>
            <p:spPr>
              <a:xfrm>
                <a:off x="2622375" y="1858189"/>
                <a:ext cx="345523" cy="180334"/>
              </a:xfrm>
              <a:custGeom>
                <a:avLst/>
                <a:gdLst/>
                <a:ahLst/>
                <a:cxnLst/>
                <a:rect l="l" t="t" r="r" b="b"/>
                <a:pathLst>
                  <a:path w="5886" h="3072" extrusionOk="0">
                    <a:moveTo>
                      <a:pt x="1462" y="0"/>
                    </a:moveTo>
                    <a:cubicBezTo>
                      <a:pt x="1365" y="0"/>
                      <a:pt x="1269" y="36"/>
                      <a:pt x="1191" y="107"/>
                    </a:cubicBezTo>
                    <a:cubicBezTo>
                      <a:pt x="567" y="674"/>
                      <a:pt x="127" y="1568"/>
                      <a:pt x="29" y="2589"/>
                    </a:cubicBezTo>
                    <a:cubicBezTo>
                      <a:pt x="0" y="2844"/>
                      <a:pt x="199" y="3071"/>
                      <a:pt x="454" y="3071"/>
                    </a:cubicBezTo>
                    <a:lnTo>
                      <a:pt x="5418" y="3071"/>
                    </a:lnTo>
                    <a:cubicBezTo>
                      <a:pt x="5673" y="3071"/>
                      <a:pt x="5885" y="2844"/>
                      <a:pt x="5843" y="2589"/>
                    </a:cubicBezTo>
                    <a:cubicBezTo>
                      <a:pt x="5701" y="1568"/>
                      <a:pt x="5106" y="674"/>
                      <a:pt x="4453" y="107"/>
                    </a:cubicBezTo>
                    <a:cubicBezTo>
                      <a:pt x="4373" y="39"/>
                      <a:pt x="4276" y="7"/>
                      <a:pt x="4178" y="7"/>
                    </a:cubicBezTo>
                    <a:cubicBezTo>
                      <a:pt x="4070" y="7"/>
                      <a:pt x="3961" y="47"/>
                      <a:pt x="3871" y="121"/>
                    </a:cubicBezTo>
                    <a:cubicBezTo>
                      <a:pt x="3588" y="348"/>
                      <a:pt x="3219" y="490"/>
                      <a:pt x="2808" y="490"/>
                    </a:cubicBezTo>
                    <a:cubicBezTo>
                      <a:pt x="2396" y="490"/>
                      <a:pt x="2028" y="348"/>
                      <a:pt x="1744" y="107"/>
                    </a:cubicBezTo>
                    <a:cubicBezTo>
                      <a:pt x="1659" y="36"/>
                      <a:pt x="1560" y="0"/>
                      <a:pt x="146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2" name="Google Shape;850;p34">
                <a:extLst>
                  <a:ext uri="{FF2B5EF4-FFF2-40B4-BE49-F238E27FC236}">
                    <a16:creationId xmlns:a16="http://schemas.microsoft.com/office/drawing/2014/main" id="{31AA08BA-CD22-4D95-52A8-62F0DB666199}"/>
                  </a:ext>
                </a:extLst>
              </p:cNvPr>
              <p:cNvSpPr/>
              <p:nvPr/>
            </p:nvSpPr>
            <p:spPr>
              <a:xfrm>
                <a:off x="2698105" y="1679611"/>
                <a:ext cx="179043" cy="179043"/>
              </a:xfrm>
              <a:custGeom>
                <a:avLst/>
                <a:gdLst/>
                <a:ahLst/>
                <a:cxnLst/>
                <a:rect l="l" t="t" r="r" b="b"/>
                <a:pathLst>
                  <a:path w="3050" h="3050" extrusionOk="0">
                    <a:moveTo>
                      <a:pt x="1518" y="0"/>
                    </a:moveTo>
                    <a:cubicBezTo>
                      <a:pt x="681" y="0"/>
                      <a:pt x="0" y="681"/>
                      <a:pt x="0" y="1518"/>
                    </a:cubicBezTo>
                    <a:cubicBezTo>
                      <a:pt x="0" y="1844"/>
                      <a:pt x="100" y="2156"/>
                      <a:pt x="284" y="2398"/>
                    </a:cubicBezTo>
                    <a:cubicBezTo>
                      <a:pt x="554" y="2795"/>
                      <a:pt x="1008" y="3050"/>
                      <a:pt x="1518" y="3050"/>
                    </a:cubicBezTo>
                    <a:cubicBezTo>
                      <a:pt x="2029" y="3050"/>
                      <a:pt x="2483" y="2795"/>
                      <a:pt x="2766" y="2398"/>
                    </a:cubicBezTo>
                    <a:cubicBezTo>
                      <a:pt x="2936" y="2156"/>
                      <a:pt x="3050" y="1844"/>
                      <a:pt x="3050" y="1518"/>
                    </a:cubicBezTo>
                    <a:cubicBezTo>
                      <a:pt x="3050" y="681"/>
                      <a:pt x="2369" y="0"/>
                      <a:pt x="151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3" name="Google Shape;851;p34">
                <a:extLst>
                  <a:ext uri="{FF2B5EF4-FFF2-40B4-BE49-F238E27FC236}">
                    <a16:creationId xmlns:a16="http://schemas.microsoft.com/office/drawing/2014/main" id="{5E660DAF-80EF-4068-59ED-17D8314D4762}"/>
                  </a:ext>
                </a:extLst>
              </p:cNvPr>
              <p:cNvSpPr/>
              <p:nvPr/>
            </p:nvSpPr>
            <p:spPr>
              <a:xfrm>
                <a:off x="4621827" y="1708787"/>
                <a:ext cx="394657" cy="78309"/>
              </a:xfrm>
              <a:custGeom>
                <a:avLst/>
                <a:gdLst/>
                <a:ahLst/>
                <a:cxnLst/>
                <a:rect l="l" t="t" r="r" b="b"/>
                <a:pathLst>
                  <a:path w="6723" h="1334" extrusionOk="0">
                    <a:moveTo>
                      <a:pt x="2014" y="0"/>
                    </a:moveTo>
                    <a:cubicBezTo>
                      <a:pt x="1731" y="0"/>
                      <a:pt x="1475" y="199"/>
                      <a:pt x="1390" y="454"/>
                    </a:cubicBezTo>
                    <a:lnTo>
                      <a:pt x="227" y="454"/>
                    </a:lnTo>
                    <a:cubicBezTo>
                      <a:pt x="99" y="454"/>
                      <a:pt x="1" y="553"/>
                      <a:pt x="1" y="666"/>
                    </a:cubicBezTo>
                    <a:cubicBezTo>
                      <a:pt x="1" y="794"/>
                      <a:pt x="99" y="879"/>
                      <a:pt x="227" y="879"/>
                    </a:cubicBezTo>
                    <a:lnTo>
                      <a:pt x="1390" y="879"/>
                    </a:lnTo>
                    <a:cubicBezTo>
                      <a:pt x="1475" y="1148"/>
                      <a:pt x="1731" y="1333"/>
                      <a:pt x="2014" y="1333"/>
                    </a:cubicBezTo>
                    <a:cubicBezTo>
                      <a:pt x="2312" y="1333"/>
                      <a:pt x="2553" y="1148"/>
                      <a:pt x="2638" y="879"/>
                    </a:cubicBezTo>
                    <a:lnTo>
                      <a:pt x="6509" y="879"/>
                    </a:lnTo>
                    <a:cubicBezTo>
                      <a:pt x="6623" y="879"/>
                      <a:pt x="6723" y="794"/>
                      <a:pt x="6723" y="666"/>
                    </a:cubicBezTo>
                    <a:cubicBezTo>
                      <a:pt x="6723" y="553"/>
                      <a:pt x="6623" y="454"/>
                      <a:pt x="6509" y="454"/>
                    </a:cubicBezTo>
                    <a:lnTo>
                      <a:pt x="2638" y="454"/>
                    </a:lnTo>
                    <a:cubicBezTo>
                      <a:pt x="2553" y="199"/>
                      <a:pt x="2312" y="0"/>
                      <a:pt x="201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4" name="Google Shape;852;p34">
                <a:extLst>
                  <a:ext uri="{FF2B5EF4-FFF2-40B4-BE49-F238E27FC236}">
                    <a16:creationId xmlns:a16="http://schemas.microsoft.com/office/drawing/2014/main" id="{FF9FB828-A367-2636-3816-F6220D395832}"/>
                  </a:ext>
                </a:extLst>
              </p:cNvPr>
              <p:cNvSpPr/>
              <p:nvPr/>
            </p:nvSpPr>
            <p:spPr>
              <a:xfrm>
                <a:off x="4621827" y="1931041"/>
                <a:ext cx="394657" cy="77487"/>
              </a:xfrm>
              <a:custGeom>
                <a:avLst/>
                <a:gdLst/>
                <a:ahLst/>
                <a:cxnLst/>
                <a:rect l="l" t="t" r="r" b="b"/>
                <a:pathLst>
                  <a:path w="6723" h="1320" extrusionOk="0">
                    <a:moveTo>
                      <a:pt x="2014" y="0"/>
                    </a:moveTo>
                    <a:cubicBezTo>
                      <a:pt x="1731" y="0"/>
                      <a:pt x="1475" y="185"/>
                      <a:pt x="1390" y="440"/>
                    </a:cubicBezTo>
                    <a:lnTo>
                      <a:pt x="227" y="440"/>
                    </a:lnTo>
                    <a:cubicBezTo>
                      <a:pt x="99" y="440"/>
                      <a:pt x="1" y="539"/>
                      <a:pt x="1" y="667"/>
                    </a:cubicBezTo>
                    <a:cubicBezTo>
                      <a:pt x="1" y="781"/>
                      <a:pt x="99" y="879"/>
                      <a:pt x="227" y="879"/>
                    </a:cubicBezTo>
                    <a:lnTo>
                      <a:pt x="1390" y="879"/>
                    </a:lnTo>
                    <a:cubicBezTo>
                      <a:pt x="1475" y="1135"/>
                      <a:pt x="1731" y="1320"/>
                      <a:pt x="2014" y="1320"/>
                    </a:cubicBezTo>
                    <a:cubicBezTo>
                      <a:pt x="2312" y="1320"/>
                      <a:pt x="2553" y="1135"/>
                      <a:pt x="2638" y="879"/>
                    </a:cubicBezTo>
                    <a:lnTo>
                      <a:pt x="6509" y="879"/>
                    </a:lnTo>
                    <a:cubicBezTo>
                      <a:pt x="6623" y="879"/>
                      <a:pt x="6723" y="781"/>
                      <a:pt x="6723" y="667"/>
                    </a:cubicBezTo>
                    <a:cubicBezTo>
                      <a:pt x="6723" y="539"/>
                      <a:pt x="6623" y="440"/>
                      <a:pt x="6509" y="440"/>
                    </a:cubicBezTo>
                    <a:lnTo>
                      <a:pt x="2638" y="440"/>
                    </a:lnTo>
                    <a:cubicBezTo>
                      <a:pt x="2553" y="185"/>
                      <a:pt x="2312" y="0"/>
                      <a:pt x="201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5" name="Google Shape;853;p34">
                <a:extLst>
                  <a:ext uri="{FF2B5EF4-FFF2-40B4-BE49-F238E27FC236}">
                    <a16:creationId xmlns:a16="http://schemas.microsoft.com/office/drawing/2014/main" id="{1E1920F0-B702-3AB9-6583-B1C0A7D5C373}"/>
                  </a:ext>
                </a:extLst>
              </p:cNvPr>
              <p:cNvSpPr/>
              <p:nvPr/>
            </p:nvSpPr>
            <p:spPr>
              <a:xfrm>
                <a:off x="4581849" y="1823671"/>
                <a:ext cx="393835" cy="78309"/>
              </a:xfrm>
              <a:custGeom>
                <a:avLst/>
                <a:gdLst/>
                <a:ahLst/>
                <a:cxnLst/>
                <a:rect l="l" t="t" r="r" b="b"/>
                <a:pathLst>
                  <a:path w="6709" h="1334" extrusionOk="0">
                    <a:moveTo>
                      <a:pt x="5347" y="0"/>
                    </a:moveTo>
                    <a:cubicBezTo>
                      <a:pt x="5063" y="0"/>
                      <a:pt x="4808" y="199"/>
                      <a:pt x="4723" y="454"/>
                    </a:cubicBezTo>
                    <a:lnTo>
                      <a:pt x="213" y="454"/>
                    </a:lnTo>
                    <a:cubicBezTo>
                      <a:pt x="86" y="454"/>
                      <a:pt x="1" y="553"/>
                      <a:pt x="1" y="666"/>
                    </a:cubicBezTo>
                    <a:cubicBezTo>
                      <a:pt x="1" y="794"/>
                      <a:pt x="86" y="880"/>
                      <a:pt x="213" y="880"/>
                    </a:cubicBezTo>
                    <a:lnTo>
                      <a:pt x="4723" y="880"/>
                    </a:lnTo>
                    <a:cubicBezTo>
                      <a:pt x="4808" y="1148"/>
                      <a:pt x="5063" y="1333"/>
                      <a:pt x="5347" y="1333"/>
                    </a:cubicBezTo>
                    <a:cubicBezTo>
                      <a:pt x="5630" y="1333"/>
                      <a:pt x="5886" y="1148"/>
                      <a:pt x="5971" y="880"/>
                    </a:cubicBezTo>
                    <a:lnTo>
                      <a:pt x="6496" y="880"/>
                    </a:lnTo>
                    <a:cubicBezTo>
                      <a:pt x="6610" y="880"/>
                      <a:pt x="6708" y="794"/>
                      <a:pt x="6708" y="666"/>
                    </a:cubicBezTo>
                    <a:cubicBezTo>
                      <a:pt x="6708" y="553"/>
                      <a:pt x="6610" y="454"/>
                      <a:pt x="6496" y="454"/>
                    </a:cubicBezTo>
                    <a:lnTo>
                      <a:pt x="5971" y="454"/>
                    </a:lnTo>
                    <a:cubicBezTo>
                      <a:pt x="5886" y="199"/>
                      <a:pt x="5630" y="0"/>
                      <a:pt x="534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</p:grpSp>
        <p:sp>
          <p:nvSpPr>
            <p:cNvPr id="49" name="Google Shape;854;p34">
              <a:extLst>
                <a:ext uri="{FF2B5EF4-FFF2-40B4-BE49-F238E27FC236}">
                  <a16:creationId xmlns:a16="http://schemas.microsoft.com/office/drawing/2014/main" id="{04CD747B-189A-54AF-4399-D65A3708EA2D}"/>
                </a:ext>
              </a:extLst>
            </p:cNvPr>
            <p:cNvSpPr txBox="1"/>
            <p:nvPr/>
          </p:nvSpPr>
          <p:spPr>
            <a:xfrm>
              <a:off x="2291559" y="2902290"/>
              <a:ext cx="1695568" cy="7056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200" b="1" dirty="0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Acceso</a:t>
              </a:r>
              <a:endParaRPr sz="3200" b="1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0" name="Google Shape;855;p34">
              <a:extLst>
                <a:ext uri="{FF2B5EF4-FFF2-40B4-BE49-F238E27FC236}">
                  <a16:creationId xmlns:a16="http://schemas.microsoft.com/office/drawing/2014/main" id="{DA63CAED-5964-238D-23DE-CA9C00E9C413}"/>
                </a:ext>
              </a:extLst>
            </p:cNvPr>
            <p:cNvSpPr txBox="1"/>
            <p:nvPr/>
          </p:nvSpPr>
          <p:spPr>
            <a:xfrm>
              <a:off x="5779828" y="2826629"/>
              <a:ext cx="1764195" cy="7056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200" b="1" dirty="0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Atención</a:t>
              </a:r>
              <a:endParaRPr sz="3200" b="1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1" name="Google Shape;856;p34">
              <a:extLst>
                <a:ext uri="{FF2B5EF4-FFF2-40B4-BE49-F238E27FC236}">
                  <a16:creationId xmlns:a16="http://schemas.microsoft.com/office/drawing/2014/main" id="{B4B007C4-A1E5-60CA-627D-EE3A3124C408}"/>
                </a:ext>
              </a:extLst>
            </p:cNvPr>
            <p:cNvSpPr txBox="1"/>
            <p:nvPr/>
          </p:nvSpPr>
          <p:spPr>
            <a:xfrm>
              <a:off x="9575478" y="2848746"/>
              <a:ext cx="1695568" cy="7056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200" b="1" dirty="0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Servicio</a:t>
              </a:r>
              <a:endParaRPr sz="3200" b="1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2" name="Google Shape;857;p34">
              <a:extLst>
                <a:ext uri="{FF2B5EF4-FFF2-40B4-BE49-F238E27FC236}">
                  <a16:creationId xmlns:a16="http://schemas.microsoft.com/office/drawing/2014/main" id="{1E4942FC-D4FD-6B3B-AC66-7D49327B2705}"/>
                </a:ext>
              </a:extLst>
            </p:cNvPr>
            <p:cNvSpPr txBox="1"/>
            <p:nvPr/>
          </p:nvSpPr>
          <p:spPr>
            <a:xfrm>
              <a:off x="12712620" y="2848746"/>
              <a:ext cx="2388295" cy="7056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s-CO" sz="3200" b="1" dirty="0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Seguimiento</a:t>
              </a:r>
              <a:endParaRPr sz="3200" b="1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7" name="Google Shape;862;p34">
              <a:extLst>
                <a:ext uri="{FF2B5EF4-FFF2-40B4-BE49-F238E27FC236}">
                  <a16:creationId xmlns:a16="http://schemas.microsoft.com/office/drawing/2014/main" id="{11BBD77F-8B9E-A332-18B9-5CA24428F73F}"/>
                </a:ext>
              </a:extLst>
            </p:cNvPr>
            <p:cNvSpPr txBox="1"/>
            <p:nvPr/>
          </p:nvSpPr>
          <p:spPr>
            <a:xfrm>
              <a:off x="1371453" y="4503155"/>
              <a:ext cx="2523227" cy="398619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Call Center</a:t>
              </a:r>
            </a:p>
            <a:p>
              <a:pPr algn="ctr"/>
              <a:r>
                <a:rPr lang="en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/>
                  <a:ea typeface="Roboto"/>
                  <a:cs typeface="Roboto"/>
                  <a:sym typeface="Roboto"/>
                </a:rPr>
                <a:t>Agendamiento de Servicios</a:t>
              </a:r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</a:p>
            <a:p>
              <a:pPr algn="ctr"/>
              <a:endParaRPr lang="en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Anfitrion</a:t>
              </a:r>
            </a:p>
            <a:p>
              <a:pPr algn="ctr"/>
              <a:r>
                <a:rPr lang="es-CO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/>
                  <a:ea typeface="Roboto"/>
                  <a:cs typeface="Roboto"/>
                  <a:sym typeface="Roboto"/>
                </a:rPr>
                <a:t>Información, dirección y acompañamiento</a:t>
              </a:r>
              <a:endParaRPr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58" name="Google Shape;863;p34">
              <a:extLst>
                <a:ext uri="{FF2B5EF4-FFF2-40B4-BE49-F238E27FC236}">
                  <a16:creationId xmlns:a16="http://schemas.microsoft.com/office/drawing/2014/main" id="{63366036-BB16-C46F-9657-7FAA4BB7C631}"/>
                </a:ext>
              </a:extLst>
            </p:cNvPr>
            <p:cNvSpPr txBox="1"/>
            <p:nvPr/>
          </p:nvSpPr>
          <p:spPr>
            <a:xfrm>
              <a:off x="4887321" y="4226245"/>
              <a:ext cx="2523227" cy="349205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s-CO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Atención Medicina General</a:t>
              </a:r>
            </a:p>
            <a:p>
              <a:pPr algn="ctr"/>
              <a:endParaRPr lang="es-CO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s-CO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Atención Especialistas</a:t>
              </a:r>
            </a:p>
            <a:p>
              <a:pPr algn="ctr"/>
              <a:endParaRPr lang="es-CO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s-CO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Atención Hospitalaria</a:t>
              </a:r>
            </a:p>
          </p:txBody>
        </p:sp>
        <p:sp>
          <p:nvSpPr>
            <p:cNvPr id="59" name="Google Shape;864;p34">
              <a:extLst>
                <a:ext uri="{FF2B5EF4-FFF2-40B4-BE49-F238E27FC236}">
                  <a16:creationId xmlns:a16="http://schemas.microsoft.com/office/drawing/2014/main" id="{6EC9A2D3-F031-8CD0-4F2B-5347141980E2}"/>
                </a:ext>
              </a:extLst>
            </p:cNvPr>
            <p:cNvSpPr txBox="1"/>
            <p:nvPr/>
          </p:nvSpPr>
          <p:spPr>
            <a:xfrm>
              <a:off x="8514556" y="4859495"/>
              <a:ext cx="2774732" cy="2737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s-CO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Dispensación Medicamentos</a:t>
              </a:r>
            </a:p>
            <a:p>
              <a:pPr algn="ctr"/>
              <a:endParaRPr lang="es-CO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endParaRPr lang="es-CO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endParaRPr lang="es-CO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s-CO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Entrega Lentes y Monturas</a:t>
              </a:r>
            </a:p>
          </p:txBody>
        </p:sp>
        <p:sp>
          <p:nvSpPr>
            <p:cNvPr id="60" name="Google Shape;865;p34">
              <a:extLst>
                <a:ext uri="{FF2B5EF4-FFF2-40B4-BE49-F238E27FC236}">
                  <a16:creationId xmlns:a16="http://schemas.microsoft.com/office/drawing/2014/main" id="{66525DB2-9010-1D63-A971-266BBA451F75}"/>
                </a:ext>
              </a:extLst>
            </p:cNvPr>
            <p:cNvSpPr txBox="1"/>
            <p:nvPr/>
          </p:nvSpPr>
          <p:spPr>
            <a:xfrm>
              <a:off x="12292143" y="4588487"/>
              <a:ext cx="2523227" cy="31298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Informes de Ley</a:t>
              </a:r>
            </a:p>
            <a:p>
              <a:pPr algn="ctr"/>
              <a:endParaRPr lang="en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Prestaciones en curso</a:t>
              </a:r>
            </a:p>
            <a:p>
              <a:pPr algn="ctr"/>
              <a:endParaRPr lang="en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FeedBack Operativo</a:t>
              </a:r>
              <a:endParaRPr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grpSp>
          <p:nvGrpSpPr>
            <p:cNvPr id="7" name="Grupo 6">
              <a:extLst>
                <a:ext uri="{FF2B5EF4-FFF2-40B4-BE49-F238E27FC236}">
                  <a16:creationId xmlns:a16="http://schemas.microsoft.com/office/drawing/2014/main" id="{E8961ACF-B9B5-D329-BAEF-4F9513D3C888}"/>
                </a:ext>
              </a:extLst>
            </p:cNvPr>
            <p:cNvGrpSpPr/>
            <p:nvPr/>
          </p:nvGrpSpPr>
          <p:grpSpPr>
            <a:xfrm>
              <a:off x="1046997" y="2508913"/>
              <a:ext cx="1559161" cy="1518216"/>
              <a:chOff x="2497804" y="2396003"/>
              <a:chExt cx="1518216" cy="1518216"/>
            </a:xfrm>
          </p:grpSpPr>
          <p:pic>
            <p:nvPicPr>
              <p:cNvPr id="64" name="Imagen 63">
                <a:extLst>
                  <a:ext uri="{FF2B5EF4-FFF2-40B4-BE49-F238E27FC236}">
                    <a16:creationId xmlns:a16="http://schemas.microsoft.com/office/drawing/2014/main" id="{9D57787C-73B6-BE12-B670-7F2D4AEFCF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clrChange>
                  <a:clrFrom>
                    <a:srgbClr val="F2F4F3"/>
                  </a:clrFrom>
                  <a:clrTo>
                    <a:srgbClr val="F2F4F3">
                      <a:alpha val="0"/>
                    </a:srgbClr>
                  </a:clrTo>
                </a:clrChange>
                <a:biLevel thresh="25000"/>
              </a:blip>
              <a:stretch>
                <a:fillRect/>
              </a:stretch>
            </p:blipFill>
            <p:spPr>
              <a:xfrm>
                <a:off x="2497804" y="2396003"/>
                <a:ext cx="1518216" cy="1518216"/>
              </a:xfrm>
              <a:prstGeom prst="rect">
                <a:avLst/>
              </a:prstGeom>
            </p:spPr>
          </p:pic>
          <p:sp>
            <p:nvSpPr>
              <p:cNvPr id="6" name="Rectángulo: esquinas redondeadas 5">
                <a:extLst>
                  <a:ext uri="{FF2B5EF4-FFF2-40B4-BE49-F238E27FC236}">
                    <a16:creationId xmlns:a16="http://schemas.microsoft.com/office/drawing/2014/main" id="{95C585A5-2D65-FF65-2844-7785F5E21AB9}"/>
                  </a:ext>
                </a:extLst>
              </p:cNvPr>
              <p:cNvSpPr/>
              <p:nvPr/>
            </p:nvSpPr>
            <p:spPr>
              <a:xfrm>
                <a:off x="3167886" y="2944380"/>
                <a:ext cx="340887" cy="266578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419" sz="2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310588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113EAF-976B-563F-A7CC-67952512B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tención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25BE28F0-0354-913E-3757-3B210FE2B894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grpSp>
        <p:nvGrpSpPr>
          <p:cNvPr id="6" name="Google Shape;1184;p43">
            <a:extLst>
              <a:ext uri="{FF2B5EF4-FFF2-40B4-BE49-F238E27FC236}">
                <a16:creationId xmlns:a16="http://schemas.microsoft.com/office/drawing/2014/main" id="{BCE2E35D-D39B-D71D-EC5D-E9D96261EABF}"/>
              </a:ext>
            </a:extLst>
          </p:cNvPr>
          <p:cNvGrpSpPr/>
          <p:nvPr/>
        </p:nvGrpSpPr>
        <p:grpSpPr>
          <a:xfrm>
            <a:off x="10537913" y="2155483"/>
            <a:ext cx="3786907" cy="5626913"/>
            <a:chOff x="5496050" y="1123468"/>
            <a:chExt cx="1975062" cy="2934717"/>
          </a:xfrm>
        </p:grpSpPr>
        <p:sp>
          <p:nvSpPr>
            <p:cNvPr id="7" name="Google Shape;1185;p43">
              <a:extLst>
                <a:ext uri="{FF2B5EF4-FFF2-40B4-BE49-F238E27FC236}">
                  <a16:creationId xmlns:a16="http://schemas.microsoft.com/office/drawing/2014/main" id="{E6ABA3A3-C02B-77F9-9E8E-11D18AF20C88}"/>
                </a:ext>
              </a:extLst>
            </p:cNvPr>
            <p:cNvSpPr/>
            <p:nvPr/>
          </p:nvSpPr>
          <p:spPr>
            <a:xfrm>
              <a:off x="5496050" y="1123468"/>
              <a:ext cx="771452" cy="1960499"/>
            </a:xfrm>
            <a:custGeom>
              <a:avLst/>
              <a:gdLst/>
              <a:ahLst/>
              <a:cxnLst/>
              <a:rect l="l" t="t" r="r" b="b"/>
              <a:pathLst>
                <a:path w="7465" h="20315" extrusionOk="0">
                  <a:moveTo>
                    <a:pt x="7465" y="1"/>
                  </a:moveTo>
                  <a:lnTo>
                    <a:pt x="1" y="4254"/>
                  </a:lnTo>
                  <a:lnTo>
                    <a:pt x="1" y="20314"/>
                  </a:lnTo>
                  <a:lnTo>
                    <a:pt x="7465" y="20314"/>
                  </a:lnTo>
                  <a:lnTo>
                    <a:pt x="7465" y="1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vert="vert270" wrap="square" lIns="175295" tIns="175295" rIns="175295" bIns="175295" anchor="ctr" anchorCtr="0">
              <a:noAutofit/>
            </a:bodyPr>
            <a:lstStyle/>
            <a:p>
              <a:r>
                <a:rPr lang="es-CO" sz="2800" b="1" dirty="0"/>
                <a:t>Ordenamientos</a:t>
              </a:r>
              <a:endParaRPr sz="2800" b="1" dirty="0"/>
            </a:p>
          </p:txBody>
        </p:sp>
        <p:sp>
          <p:nvSpPr>
            <p:cNvPr id="8" name="Google Shape;1186;p43">
              <a:extLst>
                <a:ext uri="{FF2B5EF4-FFF2-40B4-BE49-F238E27FC236}">
                  <a16:creationId xmlns:a16="http://schemas.microsoft.com/office/drawing/2014/main" id="{75408F9F-2F93-524F-E2E3-03620CEE9913}"/>
                </a:ext>
              </a:extLst>
            </p:cNvPr>
            <p:cNvSpPr/>
            <p:nvPr/>
          </p:nvSpPr>
          <p:spPr>
            <a:xfrm>
              <a:off x="5496062" y="3083944"/>
              <a:ext cx="1975034" cy="593112"/>
            </a:xfrm>
            <a:custGeom>
              <a:avLst/>
              <a:gdLst/>
              <a:ahLst/>
              <a:cxnLst/>
              <a:rect l="l" t="t" r="r" b="b"/>
              <a:pathLst>
                <a:path w="19112" h="9581" extrusionOk="0">
                  <a:moveTo>
                    <a:pt x="1" y="0"/>
                  </a:moveTo>
                  <a:cubicBezTo>
                    <a:pt x="1939" y="3191"/>
                    <a:pt x="3887" y="6391"/>
                    <a:pt x="5824" y="9580"/>
                  </a:cubicBezTo>
                  <a:lnTo>
                    <a:pt x="19112" y="9580"/>
                  </a:lnTo>
                  <a:cubicBezTo>
                    <a:pt x="15236" y="6391"/>
                    <a:pt x="11340" y="3191"/>
                    <a:pt x="746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9" name="Google Shape;1187;p43">
              <a:extLst>
                <a:ext uri="{FF2B5EF4-FFF2-40B4-BE49-F238E27FC236}">
                  <a16:creationId xmlns:a16="http://schemas.microsoft.com/office/drawing/2014/main" id="{46AA0A96-D586-94A6-78D0-0B278882BE83}"/>
                </a:ext>
              </a:extLst>
            </p:cNvPr>
            <p:cNvSpPr txBox="1"/>
            <p:nvPr/>
          </p:nvSpPr>
          <p:spPr>
            <a:xfrm>
              <a:off x="5861375" y="3122382"/>
              <a:ext cx="1085100" cy="45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5752" b="1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4</a:t>
              </a:r>
              <a:endParaRPr sz="5752" b="1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0" name="Google Shape;1188;p43">
              <a:extLst>
                <a:ext uri="{FF2B5EF4-FFF2-40B4-BE49-F238E27FC236}">
                  <a16:creationId xmlns:a16="http://schemas.microsoft.com/office/drawing/2014/main" id="{37D552CB-B226-CD17-C9EE-44607EFF0959}"/>
                </a:ext>
              </a:extLst>
            </p:cNvPr>
            <p:cNvSpPr txBox="1"/>
            <p:nvPr/>
          </p:nvSpPr>
          <p:spPr>
            <a:xfrm>
              <a:off x="6098012" y="3709585"/>
              <a:ext cx="13731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accent4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Red ampliada</a:t>
              </a:r>
              <a:endParaRPr sz="3068" b="1" dirty="0">
                <a:solidFill>
                  <a:schemeClr val="accent4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  <p:grpSp>
        <p:nvGrpSpPr>
          <p:cNvPr id="12" name="Google Shape;1190;p43">
            <a:extLst>
              <a:ext uri="{FF2B5EF4-FFF2-40B4-BE49-F238E27FC236}">
                <a16:creationId xmlns:a16="http://schemas.microsoft.com/office/drawing/2014/main" id="{EA47665B-7D44-A16D-C0F1-6122FA678D2E}"/>
              </a:ext>
            </a:extLst>
          </p:cNvPr>
          <p:cNvGrpSpPr/>
          <p:nvPr/>
        </p:nvGrpSpPr>
        <p:grpSpPr>
          <a:xfrm>
            <a:off x="8765216" y="1989243"/>
            <a:ext cx="2780837" cy="5793153"/>
            <a:chOff x="4571500" y="1036764"/>
            <a:chExt cx="1450346" cy="3021421"/>
          </a:xfrm>
        </p:grpSpPr>
        <p:sp>
          <p:nvSpPr>
            <p:cNvPr id="13" name="Google Shape;1191;p43">
              <a:extLst>
                <a:ext uri="{FF2B5EF4-FFF2-40B4-BE49-F238E27FC236}">
                  <a16:creationId xmlns:a16="http://schemas.microsoft.com/office/drawing/2014/main" id="{E9B70DE0-1DDD-6502-E08B-58D04903D807}"/>
                </a:ext>
              </a:extLst>
            </p:cNvPr>
            <p:cNvSpPr/>
            <p:nvPr/>
          </p:nvSpPr>
          <p:spPr>
            <a:xfrm>
              <a:off x="4647626" y="1036764"/>
              <a:ext cx="772363" cy="2099149"/>
            </a:xfrm>
            <a:custGeom>
              <a:avLst/>
              <a:gdLst/>
              <a:ahLst/>
              <a:cxnLst/>
              <a:rect l="l" t="t" r="r" b="b"/>
              <a:pathLst>
                <a:path w="7474" h="20315" extrusionOk="0">
                  <a:moveTo>
                    <a:pt x="0" y="1"/>
                  </a:moveTo>
                  <a:lnTo>
                    <a:pt x="0" y="20314"/>
                  </a:lnTo>
                  <a:lnTo>
                    <a:pt x="7474" y="20314"/>
                  </a:lnTo>
                  <a:lnTo>
                    <a:pt x="7474" y="4413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>
                <a:lumMod val="90000"/>
              </a:schemeClr>
            </a:solidFill>
            <a:ln>
              <a:noFill/>
            </a:ln>
          </p:spPr>
          <p:txBody>
            <a:bodyPr spcFirstLastPara="1" vert="vert270" wrap="square" lIns="175295" tIns="175295" rIns="175295" bIns="175295" anchor="ctr" anchorCtr="0">
              <a:noAutofit/>
            </a:bodyPr>
            <a:lstStyle/>
            <a:p>
              <a:r>
                <a:rPr lang="es-CO" sz="2800" b="1" dirty="0"/>
                <a:t>Direccionamiento</a:t>
              </a:r>
              <a:endParaRPr sz="2800" b="1" dirty="0"/>
            </a:p>
          </p:txBody>
        </p:sp>
        <p:sp>
          <p:nvSpPr>
            <p:cNvPr id="14" name="Google Shape;1192;p43">
              <a:extLst>
                <a:ext uri="{FF2B5EF4-FFF2-40B4-BE49-F238E27FC236}">
                  <a16:creationId xmlns:a16="http://schemas.microsoft.com/office/drawing/2014/main" id="{A00B6C6F-E3C1-E6AE-090D-5DB10987A66A}"/>
                </a:ext>
              </a:extLst>
            </p:cNvPr>
            <p:cNvSpPr/>
            <p:nvPr/>
          </p:nvSpPr>
          <p:spPr>
            <a:xfrm>
              <a:off x="4647631" y="3083944"/>
              <a:ext cx="1374215" cy="593112"/>
            </a:xfrm>
            <a:custGeom>
              <a:avLst/>
              <a:gdLst/>
              <a:ahLst/>
              <a:cxnLst/>
              <a:rect l="l" t="t" r="r" b="b"/>
              <a:pathLst>
                <a:path w="13298" h="9581" extrusionOk="0">
                  <a:moveTo>
                    <a:pt x="0" y="0"/>
                  </a:moveTo>
                  <a:lnTo>
                    <a:pt x="0" y="9580"/>
                  </a:lnTo>
                  <a:lnTo>
                    <a:pt x="13297" y="9580"/>
                  </a:lnTo>
                  <a:cubicBezTo>
                    <a:pt x="11360" y="6391"/>
                    <a:pt x="9422" y="3191"/>
                    <a:pt x="748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15" name="Google Shape;1193;p43">
              <a:extLst>
                <a:ext uri="{FF2B5EF4-FFF2-40B4-BE49-F238E27FC236}">
                  <a16:creationId xmlns:a16="http://schemas.microsoft.com/office/drawing/2014/main" id="{E3790713-B49C-5385-052B-FEC37D95E331}"/>
                </a:ext>
              </a:extLst>
            </p:cNvPr>
            <p:cNvSpPr txBox="1"/>
            <p:nvPr/>
          </p:nvSpPr>
          <p:spPr>
            <a:xfrm>
              <a:off x="4571500" y="3122382"/>
              <a:ext cx="1278600" cy="45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5752" b="1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3</a:t>
              </a:r>
              <a:endParaRPr sz="5752" b="1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6" name="Google Shape;1194;p43">
              <a:extLst>
                <a:ext uri="{FF2B5EF4-FFF2-40B4-BE49-F238E27FC236}">
                  <a16:creationId xmlns:a16="http://schemas.microsoft.com/office/drawing/2014/main" id="{B8C2F8A7-18E8-295A-649E-34DD9F4B6724}"/>
                </a:ext>
              </a:extLst>
            </p:cNvPr>
            <p:cNvSpPr txBox="1"/>
            <p:nvPr/>
          </p:nvSpPr>
          <p:spPr>
            <a:xfrm>
              <a:off x="4648200" y="3709585"/>
              <a:ext cx="13731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accent3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Oportuno</a:t>
              </a:r>
              <a:endParaRPr sz="3068" b="1" dirty="0">
                <a:solidFill>
                  <a:schemeClr val="accent3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  <p:grpSp>
        <p:nvGrpSpPr>
          <p:cNvPr id="18" name="Google Shape;1196;p43">
            <a:extLst>
              <a:ext uri="{FF2B5EF4-FFF2-40B4-BE49-F238E27FC236}">
                <a16:creationId xmlns:a16="http://schemas.microsoft.com/office/drawing/2014/main" id="{9C9D163A-F5BF-5F7C-CBBF-70C662BEF5DA}"/>
              </a:ext>
            </a:extLst>
          </p:cNvPr>
          <p:cNvGrpSpPr/>
          <p:nvPr/>
        </p:nvGrpSpPr>
        <p:grpSpPr>
          <a:xfrm>
            <a:off x="6132494" y="2155498"/>
            <a:ext cx="2778634" cy="5626899"/>
            <a:chOff x="3198403" y="1123476"/>
            <a:chExt cx="1449197" cy="2934710"/>
          </a:xfrm>
        </p:grpSpPr>
        <p:sp>
          <p:nvSpPr>
            <p:cNvPr id="19" name="Google Shape;1197;p43">
              <a:extLst>
                <a:ext uri="{FF2B5EF4-FFF2-40B4-BE49-F238E27FC236}">
                  <a16:creationId xmlns:a16="http://schemas.microsoft.com/office/drawing/2014/main" id="{3D35E748-F2DB-14B0-F814-5014C01E0121}"/>
                </a:ext>
              </a:extLst>
            </p:cNvPr>
            <p:cNvSpPr/>
            <p:nvPr/>
          </p:nvSpPr>
          <p:spPr>
            <a:xfrm>
              <a:off x="3800229" y="1123476"/>
              <a:ext cx="771330" cy="2099149"/>
            </a:xfrm>
            <a:custGeom>
              <a:avLst/>
              <a:gdLst/>
              <a:ahLst/>
              <a:cxnLst/>
              <a:rect l="l" t="t" r="r" b="b"/>
              <a:pathLst>
                <a:path w="7464" h="20315" extrusionOk="0">
                  <a:moveTo>
                    <a:pt x="7463" y="1"/>
                  </a:moveTo>
                  <a:lnTo>
                    <a:pt x="0" y="4413"/>
                  </a:lnTo>
                  <a:lnTo>
                    <a:pt x="0" y="20314"/>
                  </a:lnTo>
                  <a:lnTo>
                    <a:pt x="7463" y="20314"/>
                  </a:lnTo>
                  <a:lnTo>
                    <a:pt x="7463" y="1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vert="vert270" wrap="square" lIns="175295" tIns="175295" rIns="175295" bIns="175295" anchor="ctr" anchorCtr="0">
              <a:noAutofit/>
            </a:bodyPr>
            <a:lstStyle/>
            <a:p>
              <a:pPr algn="ctr"/>
              <a:r>
                <a:rPr lang="es-CO" sz="3451" b="1" dirty="0"/>
                <a:t>Atención</a:t>
              </a:r>
              <a:endParaRPr sz="3451" b="1" dirty="0"/>
            </a:p>
          </p:txBody>
        </p:sp>
        <p:sp>
          <p:nvSpPr>
            <p:cNvPr id="20" name="Google Shape;1198;p43">
              <a:extLst>
                <a:ext uri="{FF2B5EF4-FFF2-40B4-BE49-F238E27FC236}">
                  <a16:creationId xmlns:a16="http://schemas.microsoft.com/office/drawing/2014/main" id="{C3A0E1FF-B754-B051-343A-053EDD95ED05}"/>
                </a:ext>
              </a:extLst>
            </p:cNvPr>
            <p:cNvSpPr/>
            <p:nvPr/>
          </p:nvSpPr>
          <p:spPr>
            <a:xfrm>
              <a:off x="3198403" y="3083944"/>
              <a:ext cx="1373182" cy="593112"/>
            </a:xfrm>
            <a:custGeom>
              <a:avLst/>
              <a:gdLst/>
              <a:ahLst/>
              <a:cxnLst/>
              <a:rect l="l" t="t" r="r" b="b"/>
              <a:pathLst>
                <a:path w="13288" h="9581" extrusionOk="0">
                  <a:moveTo>
                    <a:pt x="5824" y="0"/>
                  </a:moveTo>
                  <a:cubicBezTo>
                    <a:pt x="3886" y="3191"/>
                    <a:pt x="1938" y="6391"/>
                    <a:pt x="1" y="9580"/>
                  </a:cubicBezTo>
                  <a:lnTo>
                    <a:pt x="13287" y="9580"/>
                  </a:lnTo>
                  <a:lnTo>
                    <a:pt x="1328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21" name="Google Shape;1199;p43">
              <a:extLst>
                <a:ext uri="{FF2B5EF4-FFF2-40B4-BE49-F238E27FC236}">
                  <a16:creationId xmlns:a16="http://schemas.microsoft.com/office/drawing/2014/main" id="{DFD5323D-B769-A49E-5637-AB4FE8D8CA7B}"/>
                </a:ext>
              </a:extLst>
            </p:cNvPr>
            <p:cNvSpPr txBox="1"/>
            <p:nvPr/>
          </p:nvSpPr>
          <p:spPr>
            <a:xfrm>
              <a:off x="3369000" y="3122382"/>
              <a:ext cx="1278600" cy="45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5752" b="1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2</a:t>
              </a:r>
              <a:endParaRPr sz="5752" b="1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2" name="Google Shape;1200;p43">
              <a:extLst>
                <a:ext uri="{FF2B5EF4-FFF2-40B4-BE49-F238E27FC236}">
                  <a16:creationId xmlns:a16="http://schemas.microsoft.com/office/drawing/2014/main" id="{E3952CCE-532D-BBF8-D943-BF13D3595784}"/>
                </a:ext>
              </a:extLst>
            </p:cNvPr>
            <p:cNvSpPr txBox="1"/>
            <p:nvPr/>
          </p:nvSpPr>
          <p:spPr>
            <a:xfrm>
              <a:off x="3198725" y="3709586"/>
              <a:ext cx="13731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accent2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Médicos</a:t>
              </a:r>
            </a:p>
            <a:p>
              <a:pPr algn="ctr"/>
              <a:r>
                <a:rPr lang="en" sz="3068" b="1" dirty="0">
                  <a:solidFill>
                    <a:schemeClr val="accent2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Dedicados </a:t>
              </a:r>
            </a:p>
            <a:p>
              <a:pPr algn="ctr"/>
              <a:endParaRPr sz="3068" b="1" dirty="0">
                <a:solidFill>
                  <a:schemeClr val="accent2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  <p:grpSp>
        <p:nvGrpSpPr>
          <p:cNvPr id="24" name="Google Shape;1202;p43">
            <a:extLst>
              <a:ext uri="{FF2B5EF4-FFF2-40B4-BE49-F238E27FC236}">
                <a16:creationId xmlns:a16="http://schemas.microsoft.com/office/drawing/2014/main" id="{381AFBB7-9A7E-25CF-9948-D7DFDF8090C2}"/>
              </a:ext>
            </a:extLst>
          </p:cNvPr>
          <p:cNvGrpSpPr/>
          <p:nvPr/>
        </p:nvGrpSpPr>
        <p:grpSpPr>
          <a:xfrm>
            <a:off x="3353801" y="2155482"/>
            <a:ext cx="3786756" cy="5617416"/>
            <a:chOff x="1749175" y="1123468"/>
            <a:chExt cx="1974983" cy="2929764"/>
          </a:xfrm>
        </p:grpSpPr>
        <p:sp>
          <p:nvSpPr>
            <p:cNvPr id="25" name="Google Shape;1203;p43">
              <a:extLst>
                <a:ext uri="{FF2B5EF4-FFF2-40B4-BE49-F238E27FC236}">
                  <a16:creationId xmlns:a16="http://schemas.microsoft.com/office/drawing/2014/main" id="{CFD4CF52-79FD-1E02-7C74-6E200EBCC60B}"/>
                </a:ext>
              </a:extLst>
            </p:cNvPr>
            <p:cNvSpPr/>
            <p:nvPr/>
          </p:nvSpPr>
          <p:spPr>
            <a:xfrm>
              <a:off x="2952725" y="1123468"/>
              <a:ext cx="771433" cy="1960499"/>
            </a:xfrm>
            <a:custGeom>
              <a:avLst/>
              <a:gdLst/>
              <a:ahLst/>
              <a:cxnLst/>
              <a:rect l="l" t="t" r="r" b="b"/>
              <a:pathLst>
                <a:path w="7465" h="20315" extrusionOk="0">
                  <a:moveTo>
                    <a:pt x="1" y="1"/>
                  </a:moveTo>
                  <a:lnTo>
                    <a:pt x="1" y="20314"/>
                  </a:lnTo>
                  <a:lnTo>
                    <a:pt x="7464" y="20314"/>
                  </a:lnTo>
                  <a:lnTo>
                    <a:pt x="7464" y="425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vert="vert270" wrap="square" lIns="175295" tIns="175295" rIns="175295" bIns="175295" anchor="ctr" anchorCtr="0">
              <a:noAutofit/>
            </a:bodyPr>
            <a:lstStyle/>
            <a:p>
              <a:pPr algn="ctr"/>
              <a:r>
                <a:rPr lang="es-CO" sz="3451" b="1" dirty="0"/>
                <a:t>Admisión</a:t>
              </a:r>
              <a:endParaRPr sz="3451" b="1" dirty="0"/>
            </a:p>
          </p:txBody>
        </p:sp>
        <p:sp>
          <p:nvSpPr>
            <p:cNvPr id="26" name="Google Shape;1204;p43">
              <a:extLst>
                <a:ext uri="{FF2B5EF4-FFF2-40B4-BE49-F238E27FC236}">
                  <a16:creationId xmlns:a16="http://schemas.microsoft.com/office/drawing/2014/main" id="{CA75BB7C-E7F5-65A7-0374-0C7DED83BD78}"/>
                </a:ext>
              </a:extLst>
            </p:cNvPr>
            <p:cNvSpPr/>
            <p:nvPr/>
          </p:nvSpPr>
          <p:spPr>
            <a:xfrm>
              <a:off x="1749175" y="3083944"/>
              <a:ext cx="1974001" cy="593112"/>
            </a:xfrm>
            <a:custGeom>
              <a:avLst/>
              <a:gdLst/>
              <a:ahLst/>
              <a:cxnLst/>
              <a:rect l="l" t="t" r="r" b="b"/>
              <a:pathLst>
                <a:path w="19102" h="9581" extrusionOk="0">
                  <a:moveTo>
                    <a:pt x="11648" y="0"/>
                  </a:moveTo>
                  <a:cubicBezTo>
                    <a:pt x="7772" y="3191"/>
                    <a:pt x="3876" y="6391"/>
                    <a:pt x="0" y="9580"/>
                  </a:cubicBezTo>
                  <a:lnTo>
                    <a:pt x="13288" y="9580"/>
                  </a:lnTo>
                  <a:cubicBezTo>
                    <a:pt x="15225" y="6391"/>
                    <a:pt x="17164" y="3191"/>
                    <a:pt x="19101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27" name="Google Shape;1205;p43">
              <a:extLst>
                <a:ext uri="{FF2B5EF4-FFF2-40B4-BE49-F238E27FC236}">
                  <a16:creationId xmlns:a16="http://schemas.microsoft.com/office/drawing/2014/main" id="{6FA6D232-3443-6BCA-EBD3-3DC32D2CE9D5}"/>
                </a:ext>
              </a:extLst>
            </p:cNvPr>
            <p:cNvSpPr txBox="1"/>
            <p:nvPr/>
          </p:nvSpPr>
          <p:spPr>
            <a:xfrm>
              <a:off x="2265575" y="3122382"/>
              <a:ext cx="1085100" cy="45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5752" b="1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1</a:t>
              </a:r>
              <a:endParaRPr sz="5752" b="1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8" name="Google Shape;1206;p43">
              <a:extLst>
                <a:ext uri="{FF2B5EF4-FFF2-40B4-BE49-F238E27FC236}">
                  <a16:creationId xmlns:a16="http://schemas.microsoft.com/office/drawing/2014/main" id="{0B3D6B0B-8197-9CFB-36BE-943A2CB32325}"/>
                </a:ext>
              </a:extLst>
            </p:cNvPr>
            <p:cNvSpPr txBox="1"/>
            <p:nvPr/>
          </p:nvSpPr>
          <p:spPr>
            <a:xfrm>
              <a:off x="1749249" y="3704632"/>
              <a:ext cx="13731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bg1">
                      <a:lumMod val="50000"/>
                    </a:schemeClr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Preferencial</a:t>
              </a:r>
              <a:endParaRPr sz="3068" b="1" dirty="0">
                <a:solidFill>
                  <a:schemeClr val="bg1">
                    <a:lumMod val="50000"/>
                  </a:schemeClr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41730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2905267" y="366668"/>
            <a:ext cx="121384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000" b="1" dirty="0">
                <a:solidFill>
                  <a:srgbClr val="FF5F3F"/>
                </a:solidFill>
              </a:rPr>
              <a:t>¿</a:t>
            </a:r>
            <a:r>
              <a:rPr lang="es-CO" sz="4800" b="1" dirty="0">
                <a:solidFill>
                  <a:srgbClr val="A65C99"/>
                </a:solidFill>
                <a:latin typeface="DM Sans Medium" pitchFamily="2" charset="0"/>
              </a:rPr>
              <a:t>Cómo</a:t>
            </a:r>
            <a:r>
              <a:rPr lang="es-CO" sz="4000" b="1" dirty="0">
                <a:solidFill>
                  <a:srgbClr val="FF5F3F"/>
                </a:solidFill>
              </a:rPr>
              <a:t> se </a:t>
            </a:r>
            <a:r>
              <a:rPr lang="es-CO" sz="5400" b="1" dirty="0">
                <a:solidFill>
                  <a:srgbClr val="FF5F3F"/>
                </a:solidFill>
              </a:rPr>
              <a:t>Acceden</a:t>
            </a:r>
            <a:r>
              <a:rPr lang="es-CO" sz="4000" b="1" dirty="0">
                <a:solidFill>
                  <a:srgbClr val="FF5F3F"/>
                </a:solidFill>
              </a:rPr>
              <a:t> a los </a:t>
            </a:r>
            <a:r>
              <a:rPr lang="es-CO" sz="4000" b="1" dirty="0">
                <a:solidFill>
                  <a:srgbClr val="A65C99"/>
                </a:solidFill>
                <a:latin typeface="DM Sans Medium" pitchFamily="2" charset="0"/>
              </a:rPr>
              <a:t>Servicios</a:t>
            </a:r>
            <a:r>
              <a:rPr lang="es-CO" sz="4000" b="1" dirty="0">
                <a:solidFill>
                  <a:srgbClr val="FF5F3F"/>
                </a:solidFill>
              </a:rPr>
              <a:t>?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5F5F2563-595F-0DC8-4D02-97B85C25642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783971" y="3124785"/>
            <a:ext cx="2466710" cy="2466710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F520D0B3-3B49-ADDB-D7AA-4E51A9D30BD3}"/>
              </a:ext>
            </a:extLst>
          </p:cNvPr>
          <p:cNvSpPr txBox="1"/>
          <p:nvPr/>
        </p:nvSpPr>
        <p:spPr>
          <a:xfrm>
            <a:off x="3711535" y="2893952"/>
            <a:ext cx="251062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3200" b="1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" pitchFamily="2" charset="0"/>
              </a:defRPr>
            </a:lvl1pPr>
          </a:lstStyle>
          <a:p>
            <a:r>
              <a:rPr lang="es-CO" dirty="0" err="1"/>
              <a:t>Call</a:t>
            </a:r>
            <a:r>
              <a:rPr lang="es-CO" dirty="0"/>
              <a:t> Center 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E4C807D6-2858-052A-E81B-91BB126EAD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470395" y="5824917"/>
            <a:ext cx="1366235" cy="1372334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164B392F-32F2-A3D8-397F-9B2FE03184BE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9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742051" y="3384415"/>
            <a:ext cx="2143125" cy="2143125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2FF18F36-B8AA-BDDD-5344-3246DFA38CF5}"/>
              </a:ext>
            </a:extLst>
          </p:cNvPr>
          <p:cNvSpPr txBox="1"/>
          <p:nvPr/>
        </p:nvSpPr>
        <p:spPr>
          <a:xfrm>
            <a:off x="8911768" y="5519905"/>
            <a:ext cx="5803692" cy="1692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rgbClr val="82006C"/>
                </a:solidFill>
                <a:latin typeface="DM Sans" pitchFamily="2" charset="0"/>
              </a:rPr>
              <a:t>Liz Ocampo C.  </a:t>
            </a:r>
            <a:r>
              <a:rPr lang="es-ES" sz="2400" b="1" dirty="0">
                <a:solidFill>
                  <a:srgbClr val="EC5F44"/>
                </a:solidFill>
                <a:latin typeface="DM Sans" pitchFamily="2" charset="0"/>
              </a:rPr>
              <a:t>Enfermera Jefe </a:t>
            </a:r>
          </a:p>
          <a:p>
            <a:pPr algn="ctr"/>
            <a:r>
              <a:rPr lang="es-ES" sz="2400" b="1" dirty="0">
                <a:solidFill>
                  <a:srgbClr val="82006C"/>
                </a:solidFill>
                <a:latin typeface="DM Sans" pitchFamily="2" charset="0"/>
              </a:rPr>
              <a:t>Inés Pineda P.  </a:t>
            </a:r>
            <a:r>
              <a:rPr lang="es-ES" sz="2400" b="1" dirty="0">
                <a:solidFill>
                  <a:srgbClr val="EC5F44"/>
                </a:solidFill>
                <a:latin typeface="DM Sans" pitchFamily="2" charset="0"/>
              </a:rPr>
              <a:t>Aux. Enfermería</a:t>
            </a:r>
            <a:endParaRPr lang="es-ES" sz="2400" dirty="0">
              <a:solidFill>
                <a:srgbClr val="EC5F44"/>
              </a:solidFill>
              <a:latin typeface="DM Sans" pitchFamily="2" charset="0"/>
            </a:endParaRPr>
          </a:p>
          <a:p>
            <a:pPr algn="ctr"/>
            <a:r>
              <a:rPr lang="es-ES" sz="2800" dirty="0">
                <a:latin typeface="DM Sans" pitchFamily="2" charset="0"/>
                <a:hlinkClick r:id="rId7"/>
              </a:rPr>
              <a:t>usuarios.foneca@zentria.com.co</a:t>
            </a:r>
            <a:endParaRPr lang="es-ES" sz="2800" dirty="0">
              <a:latin typeface="DM Sans" pitchFamily="2" charset="0"/>
            </a:endParaRPr>
          </a:p>
          <a:p>
            <a:pPr algn="ctr"/>
            <a:r>
              <a:rPr lang="es-ES" sz="2400" dirty="0">
                <a:latin typeface="DM Sans" pitchFamily="2" charset="0"/>
              </a:rPr>
              <a:t>Línea exclusiva </a:t>
            </a:r>
            <a:r>
              <a:rPr lang="es-ES" sz="2800" b="1" dirty="0">
                <a:latin typeface="DM Sans" pitchFamily="2" charset="0"/>
              </a:rPr>
              <a:t>3223659232</a:t>
            </a:r>
            <a:endParaRPr lang="es-419" sz="2400" dirty="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9B8DEF98-0FC8-E9E0-6BD8-E1361D2F20F4}"/>
              </a:ext>
            </a:extLst>
          </p:cNvPr>
          <p:cNvSpPr txBox="1"/>
          <p:nvPr/>
        </p:nvSpPr>
        <p:spPr>
          <a:xfrm>
            <a:off x="10367270" y="2930235"/>
            <a:ext cx="289268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32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" pitchFamily="2" charset="0"/>
              </a:rPr>
              <a:t>ANFITRIONAS</a:t>
            </a:r>
            <a:endParaRPr lang="es-419" sz="3200" dirty="0">
              <a:solidFill>
                <a:srgbClr val="FF5F3F"/>
              </a:solidFill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868CB518-E0FA-4D53-5F5C-B6A82A4E0311}"/>
              </a:ext>
            </a:extLst>
          </p:cNvPr>
          <p:cNvSpPr txBox="1"/>
          <p:nvPr/>
        </p:nvSpPr>
        <p:spPr>
          <a:xfrm>
            <a:off x="2555072" y="5508265"/>
            <a:ext cx="436209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3600" b="1" dirty="0">
                <a:solidFill>
                  <a:srgbClr val="00B094"/>
                </a:solidFill>
              </a:rPr>
              <a:t>TEL : 605 3868026</a:t>
            </a:r>
          </a:p>
          <a:p>
            <a:r>
              <a:rPr lang="es-CO" sz="3600" b="1" dirty="0">
                <a:solidFill>
                  <a:srgbClr val="00B094"/>
                </a:solidFill>
              </a:rPr>
              <a:t>          605 3868028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42F12E6B-CA92-4B31-4821-31C6481D9034}"/>
              </a:ext>
            </a:extLst>
          </p:cNvPr>
          <p:cNvSpPr txBox="1"/>
          <p:nvPr/>
        </p:nvSpPr>
        <p:spPr>
          <a:xfrm>
            <a:off x="2692128" y="6693539"/>
            <a:ext cx="397737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O" sz="2000" dirty="0"/>
              <a:t>Lunes a Viernes de 8 am a 5 pm</a:t>
            </a:r>
          </a:p>
          <a:p>
            <a:pPr algn="ctr"/>
            <a:r>
              <a:rPr lang="es-CO" sz="2000" dirty="0"/>
              <a:t>Sábados de 8 am a 12m</a:t>
            </a:r>
          </a:p>
        </p:txBody>
      </p:sp>
    </p:spTree>
    <p:extLst>
      <p:ext uri="{BB962C8B-B14F-4D97-AF65-F5344CB8AC3E}">
        <p14:creationId xmlns:p14="http://schemas.microsoft.com/office/powerpoint/2010/main" val="23617713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Zentria">
      <a:dk1>
        <a:sysClr val="windowText" lastClr="000000"/>
      </a:dk1>
      <a:lt1>
        <a:sysClr val="window" lastClr="FFFFFF"/>
      </a:lt1>
      <a:dk2>
        <a:srgbClr val="80006B"/>
      </a:dk2>
      <a:lt2>
        <a:srgbClr val="FF5F3F"/>
      </a:lt2>
      <a:accent1>
        <a:srgbClr val="D6D6D6"/>
      </a:accent1>
      <a:accent2>
        <a:srgbClr val="A65C99"/>
      </a:accent2>
      <a:accent3>
        <a:srgbClr val="FFB5A6"/>
      </a:accent3>
      <a:accent4>
        <a:srgbClr val="00B094"/>
      </a:accent4>
      <a:accent5>
        <a:srgbClr val="45E3C9"/>
      </a:accent5>
      <a:accent6>
        <a:srgbClr val="FFF280"/>
      </a:accent6>
      <a:hlink>
        <a:srgbClr val="0563C1"/>
      </a:hlink>
      <a:folHlink>
        <a:srgbClr val="954F72"/>
      </a:folHlink>
    </a:clrScheme>
    <a:fontScheme name="Custom 1">
      <a:majorFont>
        <a:latin typeface="DM Sans"/>
        <a:ea typeface=""/>
        <a:cs typeface=""/>
      </a:majorFont>
      <a:minorFont>
        <a:latin typeface="DM Sa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2428</TotalTime>
  <Words>1616</Words>
  <Application>Microsoft Office PowerPoint</Application>
  <PresentationFormat>Personalizado</PresentationFormat>
  <Paragraphs>348</Paragraphs>
  <Slides>17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7</vt:i4>
      </vt:variant>
    </vt:vector>
  </HeadingPairs>
  <TitlesOfParts>
    <vt:vector size="29" baseType="lpstr">
      <vt:lpstr>Arial</vt:lpstr>
      <vt:lpstr>Arial Narrow</vt:lpstr>
      <vt:lpstr>Calibri</vt:lpstr>
      <vt:lpstr>Calibri Light</vt:lpstr>
      <vt:lpstr>DM Sans</vt:lpstr>
      <vt:lpstr>DM Sans Medium</vt:lpstr>
      <vt:lpstr>Fira Sans Extra Condensed</vt:lpstr>
      <vt:lpstr>Roboto</vt:lpstr>
      <vt:lpstr>Office Theme</vt:lpstr>
      <vt:lpstr>Diseño personalizado</vt:lpstr>
      <vt:lpstr>6_Diseño personalizado</vt:lpstr>
      <vt:lpstr>think-cell Slide</vt:lpstr>
      <vt:lpstr>Patrimonio Autónomo Foneca  Red de Prestadores de Salud  Atlántico Enero 2024</vt:lpstr>
      <vt:lpstr>¿Quiénes Somos?</vt:lpstr>
      <vt:lpstr>¿Quiénes Somos?</vt:lpstr>
      <vt:lpstr>¿Quiénes Somos?</vt:lpstr>
      <vt:lpstr>¿Quiénes Somos?</vt:lpstr>
      <vt:lpstr>Modelo de Atención</vt:lpstr>
      <vt:lpstr>Composición Operativa</vt:lpstr>
      <vt:lpstr>Atención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colás Londoño Torres</dc:creator>
  <cp:lastModifiedBy>Castro Torres Sonia</cp:lastModifiedBy>
  <cp:revision>194</cp:revision>
  <dcterms:created xsi:type="dcterms:W3CDTF">2022-10-05T14:24:52Z</dcterms:created>
  <dcterms:modified xsi:type="dcterms:W3CDTF">2023-12-29T17:20:28Z</dcterms:modified>
</cp:coreProperties>
</file>